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2" r:id="rId2"/>
    <p:sldMasterId id="2147483696" r:id="rId3"/>
  </p:sldMasterIdLst>
  <p:notesMasterIdLst>
    <p:notesMasterId r:id="rId16"/>
  </p:notesMasterIdLst>
  <p:sldIdLst>
    <p:sldId id="585" r:id="rId4"/>
    <p:sldId id="2837" r:id="rId5"/>
    <p:sldId id="2839" r:id="rId6"/>
    <p:sldId id="2854" r:id="rId7"/>
    <p:sldId id="2856" r:id="rId8"/>
    <p:sldId id="2855" r:id="rId9"/>
    <p:sldId id="2864" r:id="rId10"/>
    <p:sldId id="2863" r:id="rId11"/>
    <p:sldId id="2862" r:id="rId12"/>
    <p:sldId id="2857" r:id="rId13"/>
    <p:sldId id="2865" r:id="rId14"/>
    <p:sldId id="520" r:id="rId15"/>
  </p:sldIdLst>
  <p:sldSz cx="12192000" cy="6858000"/>
  <p:notesSz cx="6858000" cy="9144000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754" userDrawn="1">
          <p15:clr>
            <a:srgbClr val="A4A3A4"/>
          </p15:clr>
        </p15:guide>
        <p15:guide id="7" pos="438" userDrawn="1">
          <p15:clr>
            <a:srgbClr val="A4A3A4"/>
          </p15:clr>
        </p15:guide>
        <p15:guide id="9" pos="7242" userDrawn="1">
          <p15:clr>
            <a:srgbClr val="A4A3A4"/>
          </p15:clr>
        </p15:guide>
        <p15:guide id="10" orient="horz" pos="3929" userDrawn="1">
          <p15:clr>
            <a:srgbClr val="A4A3A4"/>
          </p15:clr>
        </p15:guide>
        <p15:guide id="11" pos="3817" userDrawn="1">
          <p15:clr>
            <a:srgbClr val="A4A3A4"/>
          </p15:clr>
        </p15:guide>
        <p15:guide id="13" pos="5541" userDrawn="1">
          <p15:clr>
            <a:srgbClr val="A4A3A4"/>
          </p15:clr>
        </p15:guide>
        <p15:guide id="14" pos="21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" initials="u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78FA"/>
    <a:srgbClr val="5397FB"/>
    <a:srgbClr val="FFFFFF"/>
    <a:srgbClr val="005BAC"/>
    <a:srgbClr val="FFFF00"/>
    <a:srgbClr val="F8C9B6"/>
    <a:srgbClr val="F2F2F2"/>
    <a:srgbClr val="00B3EB"/>
    <a:srgbClr val="013E8C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30" autoAdjust="0"/>
    <p:restoredTop sz="96349" autoAdjust="0"/>
  </p:normalViewPr>
  <p:slideViewPr>
    <p:cSldViewPr snapToGrid="0">
      <p:cViewPr varScale="1">
        <p:scale>
          <a:sx n="114" d="100"/>
          <a:sy n="114" d="100"/>
        </p:scale>
        <p:origin x="240" y="96"/>
      </p:cViewPr>
      <p:guideLst>
        <p:guide orient="horz" pos="754"/>
        <p:guide pos="438"/>
        <p:guide pos="7242"/>
        <p:guide orient="horz" pos="3929"/>
        <p:guide pos="3817"/>
        <p:guide pos="5541"/>
        <p:guide pos="21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97" d="100"/>
          <a:sy n="97" d="100"/>
        </p:scale>
        <p:origin x="2480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CB18BC8F-D931-4A02-8902-D975693F5C7A}" type="datetimeFigureOut">
              <a:rPr lang="zh-CN" altLang="en-US"/>
              <a:t>2023/1/3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D3301037-3B88-4A65-9EBA-A3F1A2803E5E}" type="slidenum">
              <a:rPr lang="zh-CN" altLang="en-US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19433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jpe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四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文本框 17"/>
          <p:cNvSpPr txBox="1"/>
          <p:nvPr userDrawn="1"/>
        </p:nvSpPr>
        <p:spPr>
          <a:xfrm>
            <a:off x="836421" y="6233666"/>
            <a:ext cx="39110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anose="05000000000000000000" pitchFamily="2" charset="2"/>
              <a:buNone/>
            </a:pPr>
            <a:r>
              <a:rPr lang="en-US" altLang="zh-CN" sz="1000" dirty="0">
                <a:solidFill>
                  <a:srgbClr val="323232"/>
                </a:solidFill>
                <a:latin typeface="Verdana" panose="020B0604030504040204" pitchFamily="34" charset="0"/>
              </a:rPr>
              <a:t>Copyright © </a:t>
            </a:r>
            <a:r>
              <a:rPr lang="en-US" altLang="zh-CN" sz="1000" dirty="0" smtClean="0">
                <a:solidFill>
                  <a:srgbClr val="323232"/>
                </a:solidFill>
                <a:latin typeface="Verdana" panose="020B0604030504040204" pitchFamily="34" charset="0"/>
              </a:rPr>
              <a:t>2023 </a:t>
            </a:r>
            <a:r>
              <a:rPr lang="en-US" altLang="zh-CN" sz="1000" dirty="0">
                <a:solidFill>
                  <a:srgbClr val="323232"/>
                </a:solidFill>
                <a:latin typeface="Verdana" panose="020B0604030504040204" pitchFamily="34" charset="0"/>
              </a:rPr>
              <a:t>Neusoft Corporation</a:t>
            </a:r>
          </a:p>
        </p:txBody>
      </p:sp>
      <p:sp>
        <p:nvSpPr>
          <p:cNvPr id="20" name="矩形 19"/>
          <p:cNvSpPr/>
          <p:nvPr userDrawn="1"/>
        </p:nvSpPr>
        <p:spPr>
          <a:xfrm>
            <a:off x="836421" y="6030540"/>
            <a:ext cx="69762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东软秘密</a:t>
            </a:r>
          </a:p>
        </p:txBody>
      </p:sp>
      <p:sp>
        <p:nvSpPr>
          <p:cNvPr id="21" name="文本占位符 126"/>
          <p:cNvSpPr>
            <a:spLocks noGrp="1"/>
          </p:cNvSpPr>
          <p:nvPr>
            <p:ph type="body" sz="quarter" idx="19" hasCustomPrompt="1"/>
          </p:nvPr>
        </p:nvSpPr>
        <p:spPr>
          <a:xfrm>
            <a:off x="855662" y="5469496"/>
            <a:ext cx="8580438" cy="339645"/>
          </a:xfrm>
          <a:prstGeom prst="rect">
            <a:avLst/>
          </a:prstGeom>
          <a:noFill/>
        </p:spPr>
        <p:txBody>
          <a:bodyPr wrap="square" tIns="468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演讲人                </a:t>
            </a:r>
            <a:r>
              <a:rPr lang="en-US" altLang="zh-CN" dirty="0"/>
              <a:t>16pt </a:t>
            </a:r>
            <a:r>
              <a:rPr lang="zh-CN" altLang="en-US" dirty="0"/>
              <a:t>微软雅黑</a:t>
            </a:r>
          </a:p>
        </p:txBody>
      </p:sp>
      <p:sp>
        <p:nvSpPr>
          <p:cNvPr id="22" name="图片占位符 30"/>
          <p:cNvSpPr>
            <a:spLocks noGrp="1"/>
          </p:cNvSpPr>
          <p:nvPr>
            <p:ph type="pic" sz="quarter" idx="17"/>
          </p:nvPr>
        </p:nvSpPr>
        <p:spPr>
          <a:xfrm>
            <a:off x="897499" y="0"/>
            <a:ext cx="6927595" cy="3440888"/>
          </a:xfrm>
          <a:custGeom>
            <a:avLst/>
            <a:gdLst>
              <a:gd name="connsiteX0" fmla="*/ 5151490 w 7697585"/>
              <a:gd name="connsiteY0" fmla="*/ 0 h 2622900"/>
              <a:gd name="connsiteX1" fmla="*/ 7618189 w 7697585"/>
              <a:gd name="connsiteY1" fmla="*/ 0 h 2622900"/>
              <a:gd name="connsiteX2" fmla="*/ 7697585 w 7697585"/>
              <a:gd name="connsiteY2" fmla="*/ 0 h 2622900"/>
              <a:gd name="connsiteX3" fmla="*/ 7697585 w 7697585"/>
              <a:gd name="connsiteY3" fmla="*/ 1143928 h 2622900"/>
              <a:gd name="connsiteX4" fmla="*/ 7697584 w 7697585"/>
              <a:gd name="connsiteY4" fmla="*/ 1143928 h 2622900"/>
              <a:gd name="connsiteX5" fmla="*/ 7697584 w 7697585"/>
              <a:gd name="connsiteY5" fmla="*/ 2543505 h 2622900"/>
              <a:gd name="connsiteX6" fmla="*/ 7618189 w 7697585"/>
              <a:gd name="connsiteY6" fmla="*/ 2622900 h 2622900"/>
              <a:gd name="connsiteX7" fmla="*/ 5151490 w 7697585"/>
              <a:gd name="connsiteY7" fmla="*/ 2622900 h 2622900"/>
              <a:gd name="connsiteX8" fmla="*/ 2581562 w 7697585"/>
              <a:gd name="connsiteY8" fmla="*/ 0 h 2622900"/>
              <a:gd name="connsiteX9" fmla="*/ 5105771 w 7697585"/>
              <a:gd name="connsiteY9" fmla="*/ 0 h 2622900"/>
              <a:gd name="connsiteX10" fmla="*/ 5105771 w 7697585"/>
              <a:gd name="connsiteY10" fmla="*/ 2622900 h 2622900"/>
              <a:gd name="connsiteX11" fmla="*/ 2581562 w 7697585"/>
              <a:gd name="connsiteY11" fmla="*/ 2622900 h 2622900"/>
              <a:gd name="connsiteX12" fmla="*/ 1 w 7697585"/>
              <a:gd name="connsiteY12" fmla="*/ 0 h 2622900"/>
              <a:gd name="connsiteX13" fmla="*/ 79395 w 7697585"/>
              <a:gd name="connsiteY13" fmla="*/ 0 h 2622900"/>
              <a:gd name="connsiteX14" fmla="*/ 2535843 w 7697585"/>
              <a:gd name="connsiteY14" fmla="*/ 0 h 2622900"/>
              <a:gd name="connsiteX15" fmla="*/ 2535843 w 7697585"/>
              <a:gd name="connsiteY15" fmla="*/ 2622900 h 2622900"/>
              <a:gd name="connsiteX16" fmla="*/ 79395 w 7697585"/>
              <a:gd name="connsiteY16" fmla="*/ 2622900 h 2622900"/>
              <a:gd name="connsiteX17" fmla="*/ 0 w 7697585"/>
              <a:gd name="connsiteY17" fmla="*/ 2543505 h 2622900"/>
              <a:gd name="connsiteX18" fmla="*/ 0 w 7697585"/>
              <a:gd name="connsiteY18" fmla="*/ 79395 h 2622900"/>
              <a:gd name="connsiteX19" fmla="*/ 1 w 7697585"/>
              <a:gd name="connsiteY19" fmla="*/ 79390 h 2622900"/>
              <a:gd name="connsiteX0-1" fmla="*/ 5151490 w 7697585"/>
              <a:gd name="connsiteY0-2" fmla="*/ 0 h 2622900"/>
              <a:gd name="connsiteX1-3" fmla="*/ 7618189 w 7697585"/>
              <a:gd name="connsiteY1-4" fmla="*/ 0 h 2622900"/>
              <a:gd name="connsiteX2-5" fmla="*/ 7697585 w 7697585"/>
              <a:gd name="connsiteY2-6" fmla="*/ 1143928 h 2622900"/>
              <a:gd name="connsiteX3-7" fmla="*/ 7697584 w 7697585"/>
              <a:gd name="connsiteY3-8" fmla="*/ 1143928 h 2622900"/>
              <a:gd name="connsiteX4-9" fmla="*/ 7697584 w 7697585"/>
              <a:gd name="connsiteY4-10" fmla="*/ 2543505 h 2622900"/>
              <a:gd name="connsiteX5-11" fmla="*/ 7618189 w 7697585"/>
              <a:gd name="connsiteY5-12" fmla="*/ 2622900 h 2622900"/>
              <a:gd name="connsiteX6-13" fmla="*/ 5151490 w 7697585"/>
              <a:gd name="connsiteY6-14" fmla="*/ 2622900 h 2622900"/>
              <a:gd name="connsiteX7-15" fmla="*/ 5151490 w 7697585"/>
              <a:gd name="connsiteY7-16" fmla="*/ 0 h 2622900"/>
              <a:gd name="connsiteX8-17" fmla="*/ 2581562 w 7697585"/>
              <a:gd name="connsiteY8-18" fmla="*/ 0 h 2622900"/>
              <a:gd name="connsiteX9-19" fmla="*/ 5105771 w 7697585"/>
              <a:gd name="connsiteY9-20" fmla="*/ 0 h 2622900"/>
              <a:gd name="connsiteX10-21" fmla="*/ 5105771 w 7697585"/>
              <a:gd name="connsiteY10-22" fmla="*/ 2622900 h 2622900"/>
              <a:gd name="connsiteX11-23" fmla="*/ 2581562 w 7697585"/>
              <a:gd name="connsiteY11-24" fmla="*/ 2622900 h 2622900"/>
              <a:gd name="connsiteX12-25" fmla="*/ 2581562 w 7697585"/>
              <a:gd name="connsiteY12-26" fmla="*/ 0 h 2622900"/>
              <a:gd name="connsiteX13-27" fmla="*/ 1 w 7697585"/>
              <a:gd name="connsiteY13-28" fmla="*/ 0 h 2622900"/>
              <a:gd name="connsiteX14-29" fmla="*/ 79395 w 7697585"/>
              <a:gd name="connsiteY14-30" fmla="*/ 0 h 2622900"/>
              <a:gd name="connsiteX15-31" fmla="*/ 2535843 w 7697585"/>
              <a:gd name="connsiteY15-32" fmla="*/ 0 h 2622900"/>
              <a:gd name="connsiteX16-33" fmla="*/ 2535843 w 7697585"/>
              <a:gd name="connsiteY16-34" fmla="*/ 2622900 h 2622900"/>
              <a:gd name="connsiteX17-35" fmla="*/ 79395 w 7697585"/>
              <a:gd name="connsiteY17-36" fmla="*/ 2622900 h 2622900"/>
              <a:gd name="connsiteX18-37" fmla="*/ 0 w 7697585"/>
              <a:gd name="connsiteY18-38" fmla="*/ 2543505 h 2622900"/>
              <a:gd name="connsiteX19-39" fmla="*/ 0 w 7697585"/>
              <a:gd name="connsiteY19-40" fmla="*/ 79395 h 2622900"/>
              <a:gd name="connsiteX20" fmla="*/ 1 w 7697585"/>
              <a:gd name="connsiteY20" fmla="*/ 79390 h 2622900"/>
              <a:gd name="connsiteX21" fmla="*/ 1 w 7697585"/>
              <a:gd name="connsiteY21" fmla="*/ 0 h 2622900"/>
              <a:gd name="connsiteX0-41" fmla="*/ 5151490 w 7697585"/>
              <a:gd name="connsiteY0-42" fmla="*/ 0 h 2622900"/>
              <a:gd name="connsiteX1-43" fmla="*/ 7697585 w 7697585"/>
              <a:gd name="connsiteY1-44" fmla="*/ 1143928 h 2622900"/>
              <a:gd name="connsiteX2-45" fmla="*/ 7697584 w 7697585"/>
              <a:gd name="connsiteY2-46" fmla="*/ 1143928 h 2622900"/>
              <a:gd name="connsiteX3-47" fmla="*/ 7697584 w 7697585"/>
              <a:gd name="connsiteY3-48" fmla="*/ 2543505 h 2622900"/>
              <a:gd name="connsiteX4-49" fmla="*/ 7618189 w 7697585"/>
              <a:gd name="connsiteY4-50" fmla="*/ 2622900 h 2622900"/>
              <a:gd name="connsiteX5-51" fmla="*/ 5151490 w 7697585"/>
              <a:gd name="connsiteY5-52" fmla="*/ 2622900 h 2622900"/>
              <a:gd name="connsiteX6-53" fmla="*/ 5151490 w 7697585"/>
              <a:gd name="connsiteY6-54" fmla="*/ 0 h 2622900"/>
              <a:gd name="connsiteX7-55" fmla="*/ 2581562 w 7697585"/>
              <a:gd name="connsiteY7-56" fmla="*/ 0 h 2622900"/>
              <a:gd name="connsiteX8-57" fmla="*/ 5105771 w 7697585"/>
              <a:gd name="connsiteY8-58" fmla="*/ 0 h 2622900"/>
              <a:gd name="connsiteX9-59" fmla="*/ 5105771 w 7697585"/>
              <a:gd name="connsiteY9-60" fmla="*/ 2622900 h 2622900"/>
              <a:gd name="connsiteX10-61" fmla="*/ 2581562 w 7697585"/>
              <a:gd name="connsiteY10-62" fmla="*/ 2622900 h 2622900"/>
              <a:gd name="connsiteX11-63" fmla="*/ 2581562 w 7697585"/>
              <a:gd name="connsiteY11-64" fmla="*/ 0 h 2622900"/>
              <a:gd name="connsiteX12-65" fmla="*/ 1 w 7697585"/>
              <a:gd name="connsiteY12-66" fmla="*/ 0 h 2622900"/>
              <a:gd name="connsiteX13-67" fmla="*/ 79395 w 7697585"/>
              <a:gd name="connsiteY13-68" fmla="*/ 0 h 2622900"/>
              <a:gd name="connsiteX14-69" fmla="*/ 2535843 w 7697585"/>
              <a:gd name="connsiteY14-70" fmla="*/ 0 h 2622900"/>
              <a:gd name="connsiteX15-71" fmla="*/ 2535843 w 7697585"/>
              <a:gd name="connsiteY15-72" fmla="*/ 2622900 h 2622900"/>
              <a:gd name="connsiteX16-73" fmla="*/ 79395 w 7697585"/>
              <a:gd name="connsiteY16-74" fmla="*/ 2622900 h 2622900"/>
              <a:gd name="connsiteX17-75" fmla="*/ 0 w 7697585"/>
              <a:gd name="connsiteY17-76" fmla="*/ 2543505 h 2622900"/>
              <a:gd name="connsiteX18-77" fmla="*/ 0 w 7697585"/>
              <a:gd name="connsiteY18-78" fmla="*/ 79395 h 2622900"/>
              <a:gd name="connsiteX19-79" fmla="*/ 1 w 7697585"/>
              <a:gd name="connsiteY19-80" fmla="*/ 79390 h 2622900"/>
              <a:gd name="connsiteX20-81" fmla="*/ 1 w 7697585"/>
              <a:gd name="connsiteY20-82" fmla="*/ 0 h 2622900"/>
              <a:gd name="connsiteX0-83" fmla="*/ 5151490 w 7697585"/>
              <a:gd name="connsiteY0-84" fmla="*/ 0 h 2622900"/>
              <a:gd name="connsiteX1-85" fmla="*/ 7697585 w 7697585"/>
              <a:gd name="connsiteY1-86" fmla="*/ 1143928 h 2622900"/>
              <a:gd name="connsiteX2-87" fmla="*/ 7697584 w 7697585"/>
              <a:gd name="connsiteY2-88" fmla="*/ 2543505 h 2622900"/>
              <a:gd name="connsiteX3-89" fmla="*/ 7618189 w 7697585"/>
              <a:gd name="connsiteY3-90" fmla="*/ 2622900 h 2622900"/>
              <a:gd name="connsiteX4-91" fmla="*/ 5151490 w 7697585"/>
              <a:gd name="connsiteY4-92" fmla="*/ 2622900 h 2622900"/>
              <a:gd name="connsiteX5-93" fmla="*/ 5151490 w 7697585"/>
              <a:gd name="connsiteY5-94" fmla="*/ 0 h 2622900"/>
              <a:gd name="connsiteX6-95" fmla="*/ 2581562 w 7697585"/>
              <a:gd name="connsiteY6-96" fmla="*/ 0 h 2622900"/>
              <a:gd name="connsiteX7-97" fmla="*/ 5105771 w 7697585"/>
              <a:gd name="connsiteY7-98" fmla="*/ 0 h 2622900"/>
              <a:gd name="connsiteX8-99" fmla="*/ 5105771 w 7697585"/>
              <a:gd name="connsiteY8-100" fmla="*/ 2622900 h 2622900"/>
              <a:gd name="connsiteX9-101" fmla="*/ 2581562 w 7697585"/>
              <a:gd name="connsiteY9-102" fmla="*/ 2622900 h 2622900"/>
              <a:gd name="connsiteX10-103" fmla="*/ 2581562 w 7697585"/>
              <a:gd name="connsiteY10-104" fmla="*/ 0 h 2622900"/>
              <a:gd name="connsiteX11-105" fmla="*/ 1 w 7697585"/>
              <a:gd name="connsiteY11-106" fmla="*/ 0 h 2622900"/>
              <a:gd name="connsiteX12-107" fmla="*/ 79395 w 7697585"/>
              <a:gd name="connsiteY12-108" fmla="*/ 0 h 2622900"/>
              <a:gd name="connsiteX13-109" fmla="*/ 2535843 w 7697585"/>
              <a:gd name="connsiteY13-110" fmla="*/ 0 h 2622900"/>
              <a:gd name="connsiteX14-111" fmla="*/ 2535843 w 7697585"/>
              <a:gd name="connsiteY14-112" fmla="*/ 2622900 h 2622900"/>
              <a:gd name="connsiteX15-113" fmla="*/ 79395 w 7697585"/>
              <a:gd name="connsiteY15-114" fmla="*/ 2622900 h 2622900"/>
              <a:gd name="connsiteX16-115" fmla="*/ 0 w 7697585"/>
              <a:gd name="connsiteY16-116" fmla="*/ 2543505 h 2622900"/>
              <a:gd name="connsiteX17-117" fmla="*/ 0 w 7697585"/>
              <a:gd name="connsiteY17-118" fmla="*/ 79395 h 2622900"/>
              <a:gd name="connsiteX18-119" fmla="*/ 1 w 7697585"/>
              <a:gd name="connsiteY18-120" fmla="*/ 79390 h 2622900"/>
              <a:gd name="connsiteX19-121" fmla="*/ 1 w 7697585"/>
              <a:gd name="connsiteY19-122" fmla="*/ 0 h 2622900"/>
              <a:gd name="connsiteX0-123" fmla="*/ 5151490 w 7697584"/>
              <a:gd name="connsiteY0-124" fmla="*/ 0 h 2622900"/>
              <a:gd name="connsiteX1-125" fmla="*/ 7697584 w 7697584"/>
              <a:gd name="connsiteY1-126" fmla="*/ 2543505 h 2622900"/>
              <a:gd name="connsiteX2-127" fmla="*/ 7618189 w 7697584"/>
              <a:gd name="connsiteY2-128" fmla="*/ 2622900 h 2622900"/>
              <a:gd name="connsiteX3-129" fmla="*/ 5151490 w 7697584"/>
              <a:gd name="connsiteY3-130" fmla="*/ 2622900 h 2622900"/>
              <a:gd name="connsiteX4-131" fmla="*/ 5151490 w 7697584"/>
              <a:gd name="connsiteY4-132" fmla="*/ 0 h 2622900"/>
              <a:gd name="connsiteX5-133" fmla="*/ 2581562 w 7697584"/>
              <a:gd name="connsiteY5-134" fmla="*/ 0 h 2622900"/>
              <a:gd name="connsiteX6-135" fmla="*/ 5105771 w 7697584"/>
              <a:gd name="connsiteY6-136" fmla="*/ 0 h 2622900"/>
              <a:gd name="connsiteX7-137" fmla="*/ 5105771 w 7697584"/>
              <a:gd name="connsiteY7-138" fmla="*/ 2622900 h 2622900"/>
              <a:gd name="connsiteX8-139" fmla="*/ 2581562 w 7697584"/>
              <a:gd name="connsiteY8-140" fmla="*/ 2622900 h 2622900"/>
              <a:gd name="connsiteX9-141" fmla="*/ 2581562 w 7697584"/>
              <a:gd name="connsiteY9-142" fmla="*/ 0 h 2622900"/>
              <a:gd name="connsiteX10-143" fmla="*/ 1 w 7697584"/>
              <a:gd name="connsiteY10-144" fmla="*/ 0 h 2622900"/>
              <a:gd name="connsiteX11-145" fmla="*/ 79395 w 7697584"/>
              <a:gd name="connsiteY11-146" fmla="*/ 0 h 2622900"/>
              <a:gd name="connsiteX12-147" fmla="*/ 2535843 w 7697584"/>
              <a:gd name="connsiteY12-148" fmla="*/ 0 h 2622900"/>
              <a:gd name="connsiteX13-149" fmla="*/ 2535843 w 7697584"/>
              <a:gd name="connsiteY13-150" fmla="*/ 2622900 h 2622900"/>
              <a:gd name="connsiteX14-151" fmla="*/ 79395 w 7697584"/>
              <a:gd name="connsiteY14-152" fmla="*/ 2622900 h 2622900"/>
              <a:gd name="connsiteX15-153" fmla="*/ 0 w 7697584"/>
              <a:gd name="connsiteY15-154" fmla="*/ 2543505 h 2622900"/>
              <a:gd name="connsiteX16-155" fmla="*/ 0 w 7697584"/>
              <a:gd name="connsiteY16-156" fmla="*/ 79395 h 2622900"/>
              <a:gd name="connsiteX17-157" fmla="*/ 1 w 7697584"/>
              <a:gd name="connsiteY17-158" fmla="*/ 79390 h 2622900"/>
              <a:gd name="connsiteX18-159" fmla="*/ 1 w 7697584"/>
              <a:gd name="connsiteY18-160" fmla="*/ 0 h 2622900"/>
              <a:gd name="connsiteX0-161" fmla="*/ 5151490 w 7618189"/>
              <a:gd name="connsiteY0-162" fmla="*/ 0 h 2622900"/>
              <a:gd name="connsiteX1-163" fmla="*/ 7618189 w 7618189"/>
              <a:gd name="connsiteY1-164" fmla="*/ 2622900 h 2622900"/>
              <a:gd name="connsiteX2-165" fmla="*/ 5151490 w 7618189"/>
              <a:gd name="connsiteY2-166" fmla="*/ 2622900 h 2622900"/>
              <a:gd name="connsiteX3-167" fmla="*/ 5151490 w 7618189"/>
              <a:gd name="connsiteY3-168" fmla="*/ 0 h 2622900"/>
              <a:gd name="connsiteX4-169" fmla="*/ 2581562 w 7618189"/>
              <a:gd name="connsiteY4-170" fmla="*/ 0 h 2622900"/>
              <a:gd name="connsiteX5-171" fmla="*/ 5105771 w 7618189"/>
              <a:gd name="connsiteY5-172" fmla="*/ 0 h 2622900"/>
              <a:gd name="connsiteX6-173" fmla="*/ 5105771 w 7618189"/>
              <a:gd name="connsiteY6-174" fmla="*/ 2622900 h 2622900"/>
              <a:gd name="connsiteX7-175" fmla="*/ 2581562 w 7618189"/>
              <a:gd name="connsiteY7-176" fmla="*/ 2622900 h 2622900"/>
              <a:gd name="connsiteX8-177" fmla="*/ 2581562 w 7618189"/>
              <a:gd name="connsiteY8-178" fmla="*/ 0 h 2622900"/>
              <a:gd name="connsiteX9-179" fmla="*/ 1 w 7618189"/>
              <a:gd name="connsiteY9-180" fmla="*/ 0 h 2622900"/>
              <a:gd name="connsiteX10-181" fmla="*/ 79395 w 7618189"/>
              <a:gd name="connsiteY10-182" fmla="*/ 0 h 2622900"/>
              <a:gd name="connsiteX11-183" fmla="*/ 2535843 w 7618189"/>
              <a:gd name="connsiteY11-184" fmla="*/ 0 h 2622900"/>
              <a:gd name="connsiteX12-185" fmla="*/ 2535843 w 7618189"/>
              <a:gd name="connsiteY12-186" fmla="*/ 2622900 h 2622900"/>
              <a:gd name="connsiteX13-187" fmla="*/ 79395 w 7618189"/>
              <a:gd name="connsiteY13-188" fmla="*/ 2622900 h 2622900"/>
              <a:gd name="connsiteX14-189" fmla="*/ 0 w 7618189"/>
              <a:gd name="connsiteY14-190" fmla="*/ 2543505 h 2622900"/>
              <a:gd name="connsiteX15-191" fmla="*/ 0 w 7618189"/>
              <a:gd name="connsiteY15-192" fmla="*/ 79395 h 2622900"/>
              <a:gd name="connsiteX16-193" fmla="*/ 1 w 7618189"/>
              <a:gd name="connsiteY16-194" fmla="*/ 79390 h 2622900"/>
              <a:gd name="connsiteX17-195" fmla="*/ 1 w 7618189"/>
              <a:gd name="connsiteY17-196" fmla="*/ 0 h 2622900"/>
              <a:gd name="connsiteX0-197" fmla="*/ 5151490 w 5151490"/>
              <a:gd name="connsiteY0-198" fmla="*/ 0 h 2622900"/>
              <a:gd name="connsiteX1-199" fmla="*/ 5151490 w 5151490"/>
              <a:gd name="connsiteY1-200" fmla="*/ 2622900 h 2622900"/>
              <a:gd name="connsiteX2-201" fmla="*/ 5151490 w 5151490"/>
              <a:gd name="connsiteY2-202" fmla="*/ 0 h 2622900"/>
              <a:gd name="connsiteX3-203" fmla="*/ 2581562 w 5151490"/>
              <a:gd name="connsiteY3-204" fmla="*/ 0 h 2622900"/>
              <a:gd name="connsiteX4-205" fmla="*/ 5105771 w 5151490"/>
              <a:gd name="connsiteY4-206" fmla="*/ 0 h 2622900"/>
              <a:gd name="connsiteX5-207" fmla="*/ 5105771 w 5151490"/>
              <a:gd name="connsiteY5-208" fmla="*/ 2622900 h 2622900"/>
              <a:gd name="connsiteX6-209" fmla="*/ 2581562 w 5151490"/>
              <a:gd name="connsiteY6-210" fmla="*/ 2622900 h 2622900"/>
              <a:gd name="connsiteX7-211" fmla="*/ 2581562 w 5151490"/>
              <a:gd name="connsiteY7-212" fmla="*/ 0 h 2622900"/>
              <a:gd name="connsiteX8-213" fmla="*/ 1 w 5151490"/>
              <a:gd name="connsiteY8-214" fmla="*/ 0 h 2622900"/>
              <a:gd name="connsiteX9-215" fmla="*/ 79395 w 5151490"/>
              <a:gd name="connsiteY9-216" fmla="*/ 0 h 2622900"/>
              <a:gd name="connsiteX10-217" fmla="*/ 2535843 w 5151490"/>
              <a:gd name="connsiteY10-218" fmla="*/ 0 h 2622900"/>
              <a:gd name="connsiteX11-219" fmla="*/ 2535843 w 5151490"/>
              <a:gd name="connsiteY11-220" fmla="*/ 2622900 h 2622900"/>
              <a:gd name="connsiteX12-221" fmla="*/ 79395 w 5151490"/>
              <a:gd name="connsiteY12-222" fmla="*/ 2622900 h 2622900"/>
              <a:gd name="connsiteX13-223" fmla="*/ 0 w 5151490"/>
              <a:gd name="connsiteY13-224" fmla="*/ 2543505 h 2622900"/>
              <a:gd name="connsiteX14-225" fmla="*/ 0 w 5151490"/>
              <a:gd name="connsiteY14-226" fmla="*/ 79395 h 2622900"/>
              <a:gd name="connsiteX15-227" fmla="*/ 1 w 5151490"/>
              <a:gd name="connsiteY15-228" fmla="*/ 79390 h 2622900"/>
              <a:gd name="connsiteX16-229" fmla="*/ 1 w 5151490"/>
              <a:gd name="connsiteY16-230" fmla="*/ 0 h 2622900"/>
              <a:gd name="connsiteX0-231" fmla="*/ 2581562 w 5105771"/>
              <a:gd name="connsiteY0-232" fmla="*/ 0 h 2622900"/>
              <a:gd name="connsiteX1-233" fmla="*/ 5105771 w 5105771"/>
              <a:gd name="connsiteY1-234" fmla="*/ 0 h 2622900"/>
              <a:gd name="connsiteX2-235" fmla="*/ 5105771 w 5105771"/>
              <a:gd name="connsiteY2-236" fmla="*/ 2622900 h 2622900"/>
              <a:gd name="connsiteX3-237" fmla="*/ 2581562 w 5105771"/>
              <a:gd name="connsiteY3-238" fmla="*/ 2622900 h 2622900"/>
              <a:gd name="connsiteX4-239" fmla="*/ 2581562 w 5105771"/>
              <a:gd name="connsiteY4-240" fmla="*/ 0 h 2622900"/>
              <a:gd name="connsiteX5-241" fmla="*/ 1 w 5105771"/>
              <a:gd name="connsiteY5-242" fmla="*/ 0 h 2622900"/>
              <a:gd name="connsiteX6-243" fmla="*/ 79395 w 5105771"/>
              <a:gd name="connsiteY6-244" fmla="*/ 0 h 2622900"/>
              <a:gd name="connsiteX7-245" fmla="*/ 2535843 w 5105771"/>
              <a:gd name="connsiteY7-246" fmla="*/ 0 h 2622900"/>
              <a:gd name="connsiteX8-247" fmla="*/ 2535843 w 5105771"/>
              <a:gd name="connsiteY8-248" fmla="*/ 2622900 h 2622900"/>
              <a:gd name="connsiteX9-249" fmla="*/ 79395 w 5105771"/>
              <a:gd name="connsiteY9-250" fmla="*/ 2622900 h 2622900"/>
              <a:gd name="connsiteX10-251" fmla="*/ 0 w 5105771"/>
              <a:gd name="connsiteY10-252" fmla="*/ 2543505 h 2622900"/>
              <a:gd name="connsiteX11-253" fmla="*/ 0 w 5105771"/>
              <a:gd name="connsiteY11-254" fmla="*/ 79395 h 2622900"/>
              <a:gd name="connsiteX12-255" fmla="*/ 1 w 5105771"/>
              <a:gd name="connsiteY12-256" fmla="*/ 79390 h 2622900"/>
              <a:gd name="connsiteX13-257" fmla="*/ 1 w 5105771"/>
              <a:gd name="connsiteY13-258" fmla="*/ 0 h 2622900"/>
              <a:gd name="connsiteX0-259" fmla="*/ 2581562 w 5105771"/>
              <a:gd name="connsiteY0-260" fmla="*/ 0 h 2622900"/>
              <a:gd name="connsiteX1-261" fmla="*/ 5105771 w 5105771"/>
              <a:gd name="connsiteY1-262" fmla="*/ 0 h 2622900"/>
              <a:gd name="connsiteX2-263" fmla="*/ 5105771 w 5105771"/>
              <a:gd name="connsiteY2-264" fmla="*/ 2622900 h 2622900"/>
              <a:gd name="connsiteX3-265" fmla="*/ 2581562 w 5105771"/>
              <a:gd name="connsiteY3-266" fmla="*/ 2622900 h 2622900"/>
              <a:gd name="connsiteX4-267" fmla="*/ 2581562 w 5105771"/>
              <a:gd name="connsiteY4-268" fmla="*/ 0 h 2622900"/>
              <a:gd name="connsiteX5-269" fmla="*/ 1 w 5105771"/>
              <a:gd name="connsiteY5-270" fmla="*/ 0 h 2622900"/>
              <a:gd name="connsiteX6-271" fmla="*/ 79395 w 5105771"/>
              <a:gd name="connsiteY6-272" fmla="*/ 0 h 2622900"/>
              <a:gd name="connsiteX7-273" fmla="*/ 2535843 w 5105771"/>
              <a:gd name="connsiteY7-274" fmla="*/ 0 h 2622900"/>
              <a:gd name="connsiteX8-275" fmla="*/ 2535843 w 5105771"/>
              <a:gd name="connsiteY8-276" fmla="*/ 2622900 h 2622900"/>
              <a:gd name="connsiteX9-277" fmla="*/ 79395 w 5105771"/>
              <a:gd name="connsiteY9-278" fmla="*/ 2622900 h 2622900"/>
              <a:gd name="connsiteX10-279" fmla="*/ 0 w 5105771"/>
              <a:gd name="connsiteY10-280" fmla="*/ 2479975 h 2622900"/>
              <a:gd name="connsiteX11-281" fmla="*/ 0 w 5105771"/>
              <a:gd name="connsiteY11-282" fmla="*/ 79395 h 2622900"/>
              <a:gd name="connsiteX12-283" fmla="*/ 1 w 5105771"/>
              <a:gd name="connsiteY12-284" fmla="*/ 79390 h 2622900"/>
              <a:gd name="connsiteX13-285" fmla="*/ 1 w 5105771"/>
              <a:gd name="connsiteY13-286" fmla="*/ 0 h 2622900"/>
              <a:gd name="connsiteX0-287" fmla="*/ 2581562 w 5105771"/>
              <a:gd name="connsiteY0-288" fmla="*/ 0 h 2622900"/>
              <a:gd name="connsiteX1-289" fmla="*/ 5105771 w 5105771"/>
              <a:gd name="connsiteY1-290" fmla="*/ 0 h 2622900"/>
              <a:gd name="connsiteX2-291" fmla="*/ 5105771 w 5105771"/>
              <a:gd name="connsiteY2-292" fmla="*/ 2622900 h 2622900"/>
              <a:gd name="connsiteX3-293" fmla="*/ 2581562 w 5105771"/>
              <a:gd name="connsiteY3-294" fmla="*/ 2622900 h 2622900"/>
              <a:gd name="connsiteX4-295" fmla="*/ 2581562 w 5105771"/>
              <a:gd name="connsiteY4-296" fmla="*/ 0 h 2622900"/>
              <a:gd name="connsiteX5-297" fmla="*/ 1 w 5105771"/>
              <a:gd name="connsiteY5-298" fmla="*/ 0 h 2622900"/>
              <a:gd name="connsiteX6-299" fmla="*/ 79395 w 5105771"/>
              <a:gd name="connsiteY6-300" fmla="*/ 0 h 2622900"/>
              <a:gd name="connsiteX7-301" fmla="*/ 2535843 w 5105771"/>
              <a:gd name="connsiteY7-302" fmla="*/ 0 h 2622900"/>
              <a:gd name="connsiteX8-303" fmla="*/ 2535843 w 5105771"/>
              <a:gd name="connsiteY8-304" fmla="*/ 2622900 h 2622900"/>
              <a:gd name="connsiteX9-305" fmla="*/ 123271 w 5105771"/>
              <a:gd name="connsiteY9-306" fmla="*/ 2622900 h 2622900"/>
              <a:gd name="connsiteX10-307" fmla="*/ 0 w 5105771"/>
              <a:gd name="connsiteY10-308" fmla="*/ 2479975 h 2622900"/>
              <a:gd name="connsiteX11-309" fmla="*/ 0 w 5105771"/>
              <a:gd name="connsiteY11-310" fmla="*/ 79395 h 2622900"/>
              <a:gd name="connsiteX12-311" fmla="*/ 1 w 5105771"/>
              <a:gd name="connsiteY12-312" fmla="*/ 79390 h 2622900"/>
              <a:gd name="connsiteX13-313" fmla="*/ 1 w 5105771"/>
              <a:gd name="connsiteY13-314" fmla="*/ 0 h 2622900"/>
              <a:gd name="connsiteX0-315" fmla="*/ 2581562 w 5105771"/>
              <a:gd name="connsiteY0-316" fmla="*/ 0 h 2622900"/>
              <a:gd name="connsiteX1-317" fmla="*/ 5105771 w 5105771"/>
              <a:gd name="connsiteY1-318" fmla="*/ 0 h 2622900"/>
              <a:gd name="connsiteX2-319" fmla="*/ 5105771 w 5105771"/>
              <a:gd name="connsiteY2-320" fmla="*/ 2622900 h 2622900"/>
              <a:gd name="connsiteX3-321" fmla="*/ 2581562 w 5105771"/>
              <a:gd name="connsiteY3-322" fmla="*/ 2622900 h 2622900"/>
              <a:gd name="connsiteX4-323" fmla="*/ 2581562 w 5105771"/>
              <a:gd name="connsiteY4-324" fmla="*/ 0 h 2622900"/>
              <a:gd name="connsiteX5-325" fmla="*/ 1 w 5105771"/>
              <a:gd name="connsiteY5-326" fmla="*/ 0 h 2622900"/>
              <a:gd name="connsiteX6-327" fmla="*/ 79395 w 5105771"/>
              <a:gd name="connsiteY6-328" fmla="*/ 0 h 2622900"/>
              <a:gd name="connsiteX7-329" fmla="*/ 2535843 w 5105771"/>
              <a:gd name="connsiteY7-330" fmla="*/ 0 h 2622900"/>
              <a:gd name="connsiteX8-331" fmla="*/ 2535843 w 5105771"/>
              <a:gd name="connsiteY8-332" fmla="*/ 2622900 h 2622900"/>
              <a:gd name="connsiteX9-333" fmla="*/ 123271 w 5105771"/>
              <a:gd name="connsiteY9-334" fmla="*/ 2622900 h 2622900"/>
              <a:gd name="connsiteX10-335" fmla="*/ 0 w 5105771"/>
              <a:gd name="connsiteY10-336" fmla="*/ 2479975 h 2622900"/>
              <a:gd name="connsiteX11-337" fmla="*/ 0 w 5105771"/>
              <a:gd name="connsiteY11-338" fmla="*/ 79395 h 2622900"/>
              <a:gd name="connsiteX12-339" fmla="*/ 1 w 5105771"/>
              <a:gd name="connsiteY12-340" fmla="*/ 79390 h 2622900"/>
              <a:gd name="connsiteX13-341" fmla="*/ 1 w 5105771"/>
              <a:gd name="connsiteY13-342" fmla="*/ 0 h 2622900"/>
              <a:gd name="connsiteX0-343" fmla="*/ 2684436 w 5208645"/>
              <a:gd name="connsiteY0-344" fmla="*/ 0 h 2643383"/>
              <a:gd name="connsiteX1-345" fmla="*/ 5208645 w 5208645"/>
              <a:gd name="connsiteY1-346" fmla="*/ 0 h 2643383"/>
              <a:gd name="connsiteX2-347" fmla="*/ 5208645 w 5208645"/>
              <a:gd name="connsiteY2-348" fmla="*/ 2622900 h 2643383"/>
              <a:gd name="connsiteX3-349" fmla="*/ 2684436 w 5208645"/>
              <a:gd name="connsiteY3-350" fmla="*/ 2622900 h 2643383"/>
              <a:gd name="connsiteX4-351" fmla="*/ 2684436 w 5208645"/>
              <a:gd name="connsiteY4-352" fmla="*/ 0 h 2643383"/>
              <a:gd name="connsiteX5-353" fmla="*/ 102875 w 5208645"/>
              <a:gd name="connsiteY5-354" fmla="*/ 0 h 2643383"/>
              <a:gd name="connsiteX6-355" fmla="*/ 182269 w 5208645"/>
              <a:gd name="connsiteY6-356" fmla="*/ 0 h 2643383"/>
              <a:gd name="connsiteX7-357" fmla="*/ 2638717 w 5208645"/>
              <a:gd name="connsiteY7-358" fmla="*/ 0 h 2643383"/>
              <a:gd name="connsiteX8-359" fmla="*/ 2638717 w 5208645"/>
              <a:gd name="connsiteY8-360" fmla="*/ 2622900 h 2643383"/>
              <a:gd name="connsiteX9-361" fmla="*/ 226145 w 5208645"/>
              <a:gd name="connsiteY9-362" fmla="*/ 2622900 h 2643383"/>
              <a:gd name="connsiteX10-363" fmla="*/ 102874 w 5208645"/>
              <a:gd name="connsiteY10-364" fmla="*/ 2346379 h 2643383"/>
              <a:gd name="connsiteX11-365" fmla="*/ 102874 w 5208645"/>
              <a:gd name="connsiteY11-366" fmla="*/ 79395 h 2643383"/>
              <a:gd name="connsiteX12-367" fmla="*/ 102875 w 5208645"/>
              <a:gd name="connsiteY12-368" fmla="*/ 79390 h 2643383"/>
              <a:gd name="connsiteX13-369" fmla="*/ 102875 w 5208645"/>
              <a:gd name="connsiteY13-370" fmla="*/ 0 h 2643383"/>
              <a:gd name="connsiteX0-371" fmla="*/ 2684436 w 5208645"/>
              <a:gd name="connsiteY0-372" fmla="*/ 0 h 2643383"/>
              <a:gd name="connsiteX1-373" fmla="*/ 5208645 w 5208645"/>
              <a:gd name="connsiteY1-374" fmla="*/ 0 h 2643383"/>
              <a:gd name="connsiteX2-375" fmla="*/ 5208645 w 5208645"/>
              <a:gd name="connsiteY2-376" fmla="*/ 2622900 h 2643383"/>
              <a:gd name="connsiteX3-377" fmla="*/ 2684436 w 5208645"/>
              <a:gd name="connsiteY3-378" fmla="*/ 2622900 h 2643383"/>
              <a:gd name="connsiteX4-379" fmla="*/ 2684436 w 5208645"/>
              <a:gd name="connsiteY4-380" fmla="*/ 0 h 2643383"/>
              <a:gd name="connsiteX5-381" fmla="*/ 102875 w 5208645"/>
              <a:gd name="connsiteY5-382" fmla="*/ 0 h 2643383"/>
              <a:gd name="connsiteX6-383" fmla="*/ 182269 w 5208645"/>
              <a:gd name="connsiteY6-384" fmla="*/ 0 h 2643383"/>
              <a:gd name="connsiteX7-385" fmla="*/ 2638717 w 5208645"/>
              <a:gd name="connsiteY7-386" fmla="*/ 0 h 2643383"/>
              <a:gd name="connsiteX8-387" fmla="*/ 2638717 w 5208645"/>
              <a:gd name="connsiteY8-388" fmla="*/ 2622900 h 2643383"/>
              <a:gd name="connsiteX9-389" fmla="*/ 226145 w 5208645"/>
              <a:gd name="connsiteY9-390" fmla="*/ 2622900 h 2643383"/>
              <a:gd name="connsiteX10-391" fmla="*/ 102874 w 5208645"/>
              <a:gd name="connsiteY10-392" fmla="*/ 2346379 h 2643383"/>
              <a:gd name="connsiteX11-393" fmla="*/ 102874 w 5208645"/>
              <a:gd name="connsiteY11-394" fmla="*/ 79395 h 2643383"/>
              <a:gd name="connsiteX12-395" fmla="*/ 102875 w 5208645"/>
              <a:gd name="connsiteY12-396" fmla="*/ 79390 h 2643383"/>
              <a:gd name="connsiteX13-397" fmla="*/ 102875 w 5208645"/>
              <a:gd name="connsiteY13-398" fmla="*/ 0 h 2643383"/>
              <a:gd name="connsiteX0-399" fmla="*/ 2684436 w 5208645"/>
              <a:gd name="connsiteY0-400" fmla="*/ 0 h 2622900"/>
              <a:gd name="connsiteX1-401" fmla="*/ 5208645 w 5208645"/>
              <a:gd name="connsiteY1-402" fmla="*/ 0 h 2622900"/>
              <a:gd name="connsiteX2-403" fmla="*/ 5208645 w 5208645"/>
              <a:gd name="connsiteY2-404" fmla="*/ 2622900 h 2622900"/>
              <a:gd name="connsiteX3-405" fmla="*/ 2684436 w 5208645"/>
              <a:gd name="connsiteY3-406" fmla="*/ 2622900 h 2622900"/>
              <a:gd name="connsiteX4-407" fmla="*/ 2684436 w 5208645"/>
              <a:gd name="connsiteY4-408" fmla="*/ 0 h 2622900"/>
              <a:gd name="connsiteX5-409" fmla="*/ 102875 w 5208645"/>
              <a:gd name="connsiteY5-410" fmla="*/ 0 h 2622900"/>
              <a:gd name="connsiteX6-411" fmla="*/ 182269 w 5208645"/>
              <a:gd name="connsiteY6-412" fmla="*/ 0 h 2622900"/>
              <a:gd name="connsiteX7-413" fmla="*/ 2638717 w 5208645"/>
              <a:gd name="connsiteY7-414" fmla="*/ 0 h 2622900"/>
              <a:gd name="connsiteX8-415" fmla="*/ 2638717 w 5208645"/>
              <a:gd name="connsiteY8-416" fmla="*/ 2622900 h 2622900"/>
              <a:gd name="connsiteX9-417" fmla="*/ 226145 w 5208645"/>
              <a:gd name="connsiteY9-418" fmla="*/ 2622900 h 2622900"/>
              <a:gd name="connsiteX10-419" fmla="*/ 102874 w 5208645"/>
              <a:gd name="connsiteY10-420" fmla="*/ 2346379 h 2622900"/>
              <a:gd name="connsiteX11-421" fmla="*/ 102874 w 5208645"/>
              <a:gd name="connsiteY11-422" fmla="*/ 79395 h 2622900"/>
              <a:gd name="connsiteX12-423" fmla="*/ 102875 w 5208645"/>
              <a:gd name="connsiteY12-424" fmla="*/ 79390 h 2622900"/>
              <a:gd name="connsiteX13-425" fmla="*/ 102875 w 5208645"/>
              <a:gd name="connsiteY13-426" fmla="*/ 0 h 2622900"/>
              <a:gd name="connsiteX0-427" fmla="*/ 2582362 w 5106571"/>
              <a:gd name="connsiteY0-428" fmla="*/ 0 h 2622900"/>
              <a:gd name="connsiteX1-429" fmla="*/ 5106571 w 5106571"/>
              <a:gd name="connsiteY1-430" fmla="*/ 0 h 2622900"/>
              <a:gd name="connsiteX2-431" fmla="*/ 5106571 w 5106571"/>
              <a:gd name="connsiteY2-432" fmla="*/ 2622900 h 2622900"/>
              <a:gd name="connsiteX3-433" fmla="*/ 2582362 w 5106571"/>
              <a:gd name="connsiteY3-434" fmla="*/ 2622900 h 2622900"/>
              <a:gd name="connsiteX4-435" fmla="*/ 2582362 w 5106571"/>
              <a:gd name="connsiteY4-436" fmla="*/ 0 h 2622900"/>
              <a:gd name="connsiteX5-437" fmla="*/ 801 w 5106571"/>
              <a:gd name="connsiteY5-438" fmla="*/ 0 h 2622900"/>
              <a:gd name="connsiteX6-439" fmla="*/ 80195 w 5106571"/>
              <a:gd name="connsiteY6-440" fmla="*/ 0 h 2622900"/>
              <a:gd name="connsiteX7-441" fmla="*/ 2536643 w 5106571"/>
              <a:gd name="connsiteY7-442" fmla="*/ 0 h 2622900"/>
              <a:gd name="connsiteX8-443" fmla="*/ 2536643 w 5106571"/>
              <a:gd name="connsiteY8-444" fmla="*/ 2622900 h 2622900"/>
              <a:gd name="connsiteX9-445" fmla="*/ 124071 w 5106571"/>
              <a:gd name="connsiteY9-446" fmla="*/ 2622900 h 2622900"/>
              <a:gd name="connsiteX10-447" fmla="*/ 800 w 5106571"/>
              <a:gd name="connsiteY10-448" fmla="*/ 2346379 h 2622900"/>
              <a:gd name="connsiteX11-449" fmla="*/ 800 w 5106571"/>
              <a:gd name="connsiteY11-450" fmla="*/ 79395 h 2622900"/>
              <a:gd name="connsiteX12-451" fmla="*/ 801 w 5106571"/>
              <a:gd name="connsiteY12-452" fmla="*/ 79390 h 2622900"/>
              <a:gd name="connsiteX13-453" fmla="*/ 801 w 5106571"/>
              <a:gd name="connsiteY13-454" fmla="*/ 0 h 2622900"/>
              <a:gd name="connsiteX0-455" fmla="*/ 2581562 w 5105771"/>
              <a:gd name="connsiteY0-456" fmla="*/ 0 h 2622900"/>
              <a:gd name="connsiteX1-457" fmla="*/ 5105771 w 5105771"/>
              <a:gd name="connsiteY1-458" fmla="*/ 0 h 2622900"/>
              <a:gd name="connsiteX2-459" fmla="*/ 5105771 w 5105771"/>
              <a:gd name="connsiteY2-460" fmla="*/ 2622900 h 2622900"/>
              <a:gd name="connsiteX3-461" fmla="*/ 2581562 w 5105771"/>
              <a:gd name="connsiteY3-462" fmla="*/ 2622900 h 2622900"/>
              <a:gd name="connsiteX4-463" fmla="*/ 2581562 w 5105771"/>
              <a:gd name="connsiteY4-464" fmla="*/ 0 h 2622900"/>
              <a:gd name="connsiteX5-465" fmla="*/ 1 w 5105771"/>
              <a:gd name="connsiteY5-466" fmla="*/ 0 h 2622900"/>
              <a:gd name="connsiteX6-467" fmla="*/ 79395 w 5105771"/>
              <a:gd name="connsiteY6-468" fmla="*/ 0 h 2622900"/>
              <a:gd name="connsiteX7-469" fmla="*/ 2535843 w 5105771"/>
              <a:gd name="connsiteY7-470" fmla="*/ 0 h 2622900"/>
              <a:gd name="connsiteX8-471" fmla="*/ 2535843 w 5105771"/>
              <a:gd name="connsiteY8-472" fmla="*/ 2622900 h 2622900"/>
              <a:gd name="connsiteX9-473" fmla="*/ 165392 w 5105771"/>
              <a:gd name="connsiteY9-474" fmla="*/ 2622900 h 2622900"/>
              <a:gd name="connsiteX10-475" fmla="*/ 0 w 5105771"/>
              <a:gd name="connsiteY10-476" fmla="*/ 2346379 h 2622900"/>
              <a:gd name="connsiteX11-477" fmla="*/ 0 w 5105771"/>
              <a:gd name="connsiteY11-478" fmla="*/ 79395 h 2622900"/>
              <a:gd name="connsiteX12-479" fmla="*/ 1 w 5105771"/>
              <a:gd name="connsiteY12-480" fmla="*/ 79390 h 2622900"/>
              <a:gd name="connsiteX13-481" fmla="*/ 1 w 5105771"/>
              <a:gd name="connsiteY13-482" fmla="*/ 0 h 2622900"/>
              <a:gd name="connsiteX0-483" fmla="*/ 2581785 w 5105994"/>
              <a:gd name="connsiteY0-484" fmla="*/ 0 h 2622900"/>
              <a:gd name="connsiteX1-485" fmla="*/ 5105994 w 5105994"/>
              <a:gd name="connsiteY1-486" fmla="*/ 0 h 2622900"/>
              <a:gd name="connsiteX2-487" fmla="*/ 5105994 w 5105994"/>
              <a:gd name="connsiteY2-488" fmla="*/ 2622900 h 2622900"/>
              <a:gd name="connsiteX3-489" fmla="*/ 2581785 w 5105994"/>
              <a:gd name="connsiteY3-490" fmla="*/ 2622900 h 2622900"/>
              <a:gd name="connsiteX4-491" fmla="*/ 2581785 w 5105994"/>
              <a:gd name="connsiteY4-492" fmla="*/ 0 h 2622900"/>
              <a:gd name="connsiteX5-493" fmla="*/ 224 w 5105994"/>
              <a:gd name="connsiteY5-494" fmla="*/ 0 h 2622900"/>
              <a:gd name="connsiteX6-495" fmla="*/ 79618 w 5105994"/>
              <a:gd name="connsiteY6-496" fmla="*/ 0 h 2622900"/>
              <a:gd name="connsiteX7-497" fmla="*/ 2536066 w 5105994"/>
              <a:gd name="connsiteY7-498" fmla="*/ 0 h 2622900"/>
              <a:gd name="connsiteX8-499" fmla="*/ 2536066 w 5105994"/>
              <a:gd name="connsiteY8-500" fmla="*/ 2622900 h 2622900"/>
              <a:gd name="connsiteX9-501" fmla="*/ 165615 w 5105994"/>
              <a:gd name="connsiteY9-502" fmla="*/ 2622900 h 2622900"/>
              <a:gd name="connsiteX10-503" fmla="*/ 223 w 5105994"/>
              <a:gd name="connsiteY10-504" fmla="*/ 2346379 h 2622900"/>
              <a:gd name="connsiteX11-505" fmla="*/ 223 w 5105994"/>
              <a:gd name="connsiteY11-506" fmla="*/ 79395 h 2622900"/>
              <a:gd name="connsiteX12-507" fmla="*/ 224 w 5105994"/>
              <a:gd name="connsiteY12-508" fmla="*/ 79390 h 2622900"/>
              <a:gd name="connsiteX13-509" fmla="*/ 224 w 5105994"/>
              <a:gd name="connsiteY13-510" fmla="*/ 0 h 2622900"/>
              <a:gd name="connsiteX0-511" fmla="*/ 2581562 w 5105771"/>
              <a:gd name="connsiteY0-512" fmla="*/ 0 h 2622900"/>
              <a:gd name="connsiteX1-513" fmla="*/ 5105771 w 5105771"/>
              <a:gd name="connsiteY1-514" fmla="*/ 0 h 2622900"/>
              <a:gd name="connsiteX2-515" fmla="*/ 5105771 w 5105771"/>
              <a:gd name="connsiteY2-516" fmla="*/ 2622900 h 2622900"/>
              <a:gd name="connsiteX3-517" fmla="*/ 2581562 w 5105771"/>
              <a:gd name="connsiteY3-518" fmla="*/ 2622900 h 2622900"/>
              <a:gd name="connsiteX4-519" fmla="*/ 2581562 w 5105771"/>
              <a:gd name="connsiteY4-520" fmla="*/ 0 h 2622900"/>
              <a:gd name="connsiteX5-521" fmla="*/ 1 w 5105771"/>
              <a:gd name="connsiteY5-522" fmla="*/ 0 h 2622900"/>
              <a:gd name="connsiteX6-523" fmla="*/ 79395 w 5105771"/>
              <a:gd name="connsiteY6-524" fmla="*/ 0 h 2622900"/>
              <a:gd name="connsiteX7-525" fmla="*/ 2535843 w 5105771"/>
              <a:gd name="connsiteY7-526" fmla="*/ 0 h 2622900"/>
              <a:gd name="connsiteX8-527" fmla="*/ 2535843 w 5105771"/>
              <a:gd name="connsiteY8-528" fmla="*/ 2622900 h 2622900"/>
              <a:gd name="connsiteX9-529" fmla="*/ 198738 w 5105771"/>
              <a:gd name="connsiteY9-530" fmla="*/ 2622900 h 2622900"/>
              <a:gd name="connsiteX10-531" fmla="*/ 0 w 5105771"/>
              <a:gd name="connsiteY10-532" fmla="*/ 2346379 h 2622900"/>
              <a:gd name="connsiteX11-533" fmla="*/ 0 w 5105771"/>
              <a:gd name="connsiteY11-534" fmla="*/ 79395 h 2622900"/>
              <a:gd name="connsiteX12-535" fmla="*/ 1 w 5105771"/>
              <a:gd name="connsiteY12-536" fmla="*/ 79390 h 2622900"/>
              <a:gd name="connsiteX13-537" fmla="*/ 1 w 5105771"/>
              <a:gd name="connsiteY13-538" fmla="*/ 0 h 2622900"/>
              <a:gd name="connsiteX0-539" fmla="*/ 2581562 w 5105771"/>
              <a:gd name="connsiteY0-540" fmla="*/ 0 h 2622900"/>
              <a:gd name="connsiteX1-541" fmla="*/ 5105771 w 5105771"/>
              <a:gd name="connsiteY1-542" fmla="*/ 0 h 2622900"/>
              <a:gd name="connsiteX2-543" fmla="*/ 5105771 w 5105771"/>
              <a:gd name="connsiteY2-544" fmla="*/ 2622900 h 2622900"/>
              <a:gd name="connsiteX3-545" fmla="*/ 2581562 w 5105771"/>
              <a:gd name="connsiteY3-546" fmla="*/ 2622900 h 2622900"/>
              <a:gd name="connsiteX4-547" fmla="*/ 2581562 w 5105771"/>
              <a:gd name="connsiteY4-548" fmla="*/ 0 h 2622900"/>
              <a:gd name="connsiteX5-549" fmla="*/ 1 w 5105771"/>
              <a:gd name="connsiteY5-550" fmla="*/ 0 h 2622900"/>
              <a:gd name="connsiteX6-551" fmla="*/ 79395 w 5105771"/>
              <a:gd name="connsiteY6-552" fmla="*/ 0 h 2622900"/>
              <a:gd name="connsiteX7-553" fmla="*/ 2535843 w 5105771"/>
              <a:gd name="connsiteY7-554" fmla="*/ 0 h 2622900"/>
              <a:gd name="connsiteX8-555" fmla="*/ 2535843 w 5105771"/>
              <a:gd name="connsiteY8-556" fmla="*/ 2622900 h 2622900"/>
              <a:gd name="connsiteX9-557" fmla="*/ 198738 w 5105771"/>
              <a:gd name="connsiteY9-558" fmla="*/ 2622900 h 2622900"/>
              <a:gd name="connsiteX10-559" fmla="*/ 0 w 5105771"/>
              <a:gd name="connsiteY10-560" fmla="*/ 2346379 h 2622900"/>
              <a:gd name="connsiteX11-561" fmla="*/ 0 w 5105771"/>
              <a:gd name="connsiteY11-562" fmla="*/ 79395 h 2622900"/>
              <a:gd name="connsiteX12-563" fmla="*/ 1 w 5105771"/>
              <a:gd name="connsiteY12-564" fmla="*/ 79390 h 2622900"/>
              <a:gd name="connsiteX13-565" fmla="*/ 1 w 5105771"/>
              <a:gd name="connsiteY13-566" fmla="*/ 0 h 26229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  <a:cxn ang="0">
                <a:pos x="connsiteX11-23" y="connsiteY11-24"/>
              </a:cxn>
              <a:cxn ang="0">
                <a:pos x="connsiteX12-25" y="connsiteY12-26"/>
              </a:cxn>
              <a:cxn ang="0">
                <a:pos x="connsiteX13-27" y="connsiteY13-28"/>
              </a:cxn>
            </a:cxnLst>
            <a:rect l="l" t="t" r="r" b="b"/>
            <a:pathLst>
              <a:path w="5105771" h="2622900">
                <a:moveTo>
                  <a:pt x="2581562" y="0"/>
                </a:moveTo>
                <a:lnTo>
                  <a:pt x="5105771" y="0"/>
                </a:lnTo>
                <a:lnTo>
                  <a:pt x="5105771" y="2622900"/>
                </a:lnTo>
                <a:lnTo>
                  <a:pt x="2581562" y="2622900"/>
                </a:lnTo>
                <a:lnTo>
                  <a:pt x="2581562" y="0"/>
                </a:lnTo>
                <a:close/>
                <a:moveTo>
                  <a:pt x="1" y="0"/>
                </a:moveTo>
                <a:lnTo>
                  <a:pt x="79395" y="0"/>
                </a:lnTo>
                <a:lnTo>
                  <a:pt x="2535843" y="0"/>
                </a:lnTo>
                <a:lnTo>
                  <a:pt x="2535843" y="2622900"/>
                </a:lnTo>
                <a:lnTo>
                  <a:pt x="198738" y="2622900"/>
                </a:lnTo>
                <a:cubicBezTo>
                  <a:pt x="741" y="2619288"/>
                  <a:pt x="0" y="2390228"/>
                  <a:pt x="0" y="2346379"/>
                </a:cubicBezTo>
                <a:lnTo>
                  <a:pt x="0" y="79395"/>
                </a:lnTo>
                <a:cubicBezTo>
                  <a:pt x="0" y="79393"/>
                  <a:pt x="1" y="79392"/>
                  <a:pt x="1" y="79390"/>
                </a:cubicBezTo>
                <a:lnTo>
                  <a:pt x="1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3" name="任意多边形 22"/>
          <p:cNvSpPr/>
          <p:nvPr userDrawn="1"/>
        </p:nvSpPr>
        <p:spPr>
          <a:xfrm flipV="1">
            <a:off x="7888622" y="0"/>
            <a:ext cx="3443006" cy="3440888"/>
          </a:xfrm>
          <a:custGeom>
            <a:avLst/>
            <a:gdLst>
              <a:gd name="connsiteX0" fmla="*/ 0 w 2515238"/>
              <a:gd name="connsiteY0" fmla="*/ 0 h 2616731"/>
              <a:gd name="connsiteX1" fmla="*/ 2241386 w 2515238"/>
              <a:gd name="connsiteY1" fmla="*/ 0 h 2616731"/>
              <a:gd name="connsiteX2" fmla="*/ 2506771 w 2515238"/>
              <a:gd name="connsiteY2" fmla="*/ 333120 h 2616731"/>
              <a:gd name="connsiteX3" fmla="*/ 2515238 w 2515238"/>
              <a:gd name="connsiteY3" fmla="*/ 2616731 h 2616731"/>
              <a:gd name="connsiteX4" fmla="*/ 0 w 2515238"/>
              <a:gd name="connsiteY4" fmla="*/ 2616731 h 2616731"/>
              <a:gd name="connsiteX5" fmla="*/ 0 w 2515238"/>
              <a:gd name="connsiteY5" fmla="*/ 0 h 2616731"/>
              <a:gd name="connsiteX0-1" fmla="*/ 0 w 2515238"/>
              <a:gd name="connsiteY0-2" fmla="*/ 0 h 2616731"/>
              <a:gd name="connsiteX1-3" fmla="*/ 2241386 w 2515238"/>
              <a:gd name="connsiteY1-4" fmla="*/ 0 h 2616731"/>
              <a:gd name="connsiteX2-5" fmla="*/ 2509092 w 2515238"/>
              <a:gd name="connsiteY2-6" fmla="*/ 333120 h 2616731"/>
              <a:gd name="connsiteX3-7" fmla="*/ 2515238 w 2515238"/>
              <a:gd name="connsiteY3-8" fmla="*/ 2616731 h 2616731"/>
              <a:gd name="connsiteX4-9" fmla="*/ 0 w 2515238"/>
              <a:gd name="connsiteY4-10" fmla="*/ 2616731 h 2616731"/>
              <a:gd name="connsiteX5-11" fmla="*/ 0 w 2515238"/>
              <a:gd name="connsiteY5-12" fmla="*/ 0 h 2616731"/>
              <a:gd name="connsiteX0-13" fmla="*/ 0 w 2515238"/>
              <a:gd name="connsiteY0-14" fmla="*/ 0 h 2616731"/>
              <a:gd name="connsiteX1-15" fmla="*/ 2241386 w 2515238"/>
              <a:gd name="connsiteY1-16" fmla="*/ 0 h 2616731"/>
              <a:gd name="connsiteX2-17" fmla="*/ 2509092 w 2515238"/>
              <a:gd name="connsiteY2-18" fmla="*/ 333120 h 2616731"/>
              <a:gd name="connsiteX3-19" fmla="*/ 2515238 w 2515238"/>
              <a:gd name="connsiteY3-20" fmla="*/ 2616731 h 2616731"/>
              <a:gd name="connsiteX4-21" fmla="*/ 0 w 2515238"/>
              <a:gd name="connsiteY4-22" fmla="*/ 2616731 h 2616731"/>
              <a:gd name="connsiteX5-23" fmla="*/ 0 w 2515238"/>
              <a:gd name="connsiteY5-24" fmla="*/ 0 h 2616731"/>
              <a:gd name="connsiteX0-25" fmla="*/ 0 w 2518941"/>
              <a:gd name="connsiteY0-26" fmla="*/ 0 h 2616731"/>
              <a:gd name="connsiteX1-27" fmla="*/ 2241386 w 2518941"/>
              <a:gd name="connsiteY1-28" fmla="*/ 0 h 2616731"/>
              <a:gd name="connsiteX2-29" fmla="*/ 2518375 w 2518941"/>
              <a:gd name="connsiteY2-30" fmla="*/ 333120 h 2616731"/>
              <a:gd name="connsiteX3-31" fmla="*/ 2515238 w 2518941"/>
              <a:gd name="connsiteY3-32" fmla="*/ 2616731 h 2616731"/>
              <a:gd name="connsiteX4-33" fmla="*/ 0 w 2518941"/>
              <a:gd name="connsiteY4-34" fmla="*/ 2616731 h 2616731"/>
              <a:gd name="connsiteX5-35" fmla="*/ 0 w 2518941"/>
              <a:gd name="connsiteY5-36" fmla="*/ 0 h 2616731"/>
              <a:gd name="connsiteX0-37" fmla="*/ 0 w 2515238"/>
              <a:gd name="connsiteY0-38" fmla="*/ 0 h 2616731"/>
              <a:gd name="connsiteX1-39" fmla="*/ 2241386 w 2515238"/>
              <a:gd name="connsiteY1-40" fmla="*/ 0 h 2616731"/>
              <a:gd name="connsiteX2-41" fmla="*/ 2511413 w 2515238"/>
              <a:gd name="connsiteY2-42" fmla="*/ 333120 h 2616731"/>
              <a:gd name="connsiteX3-43" fmla="*/ 2515238 w 2515238"/>
              <a:gd name="connsiteY3-44" fmla="*/ 2616731 h 2616731"/>
              <a:gd name="connsiteX4-45" fmla="*/ 0 w 2515238"/>
              <a:gd name="connsiteY4-46" fmla="*/ 2616731 h 2616731"/>
              <a:gd name="connsiteX5-47" fmla="*/ 0 w 2515238"/>
              <a:gd name="connsiteY5-48" fmla="*/ 0 h 2616731"/>
              <a:gd name="connsiteX0-49" fmla="*/ 0 w 2515238"/>
              <a:gd name="connsiteY0-50" fmla="*/ 0 h 2616731"/>
              <a:gd name="connsiteX1-51" fmla="*/ 2241386 w 2515238"/>
              <a:gd name="connsiteY1-52" fmla="*/ 0 h 2616731"/>
              <a:gd name="connsiteX2-53" fmla="*/ 2513734 w 2515238"/>
              <a:gd name="connsiteY2-54" fmla="*/ 333120 h 2616731"/>
              <a:gd name="connsiteX3-55" fmla="*/ 2515238 w 2515238"/>
              <a:gd name="connsiteY3-56" fmla="*/ 2616731 h 2616731"/>
              <a:gd name="connsiteX4-57" fmla="*/ 0 w 2515238"/>
              <a:gd name="connsiteY4-58" fmla="*/ 2616731 h 2616731"/>
              <a:gd name="connsiteX5-59" fmla="*/ 0 w 2515238"/>
              <a:gd name="connsiteY5-60" fmla="*/ 0 h 2616731"/>
              <a:gd name="connsiteX0-61" fmla="*/ 0 w 2521160"/>
              <a:gd name="connsiteY0-62" fmla="*/ 0 h 2616731"/>
              <a:gd name="connsiteX1-63" fmla="*/ 2241386 w 2521160"/>
              <a:gd name="connsiteY1-64" fmla="*/ 0 h 2616731"/>
              <a:gd name="connsiteX2-65" fmla="*/ 2520697 w 2521160"/>
              <a:gd name="connsiteY2-66" fmla="*/ 333120 h 2616731"/>
              <a:gd name="connsiteX3-67" fmla="*/ 2515238 w 2521160"/>
              <a:gd name="connsiteY3-68" fmla="*/ 2616731 h 2616731"/>
              <a:gd name="connsiteX4-69" fmla="*/ 0 w 2521160"/>
              <a:gd name="connsiteY4-70" fmla="*/ 2616731 h 2616731"/>
              <a:gd name="connsiteX5-71" fmla="*/ 0 w 2521160"/>
              <a:gd name="connsiteY5-72" fmla="*/ 0 h 2616731"/>
              <a:gd name="connsiteX0-73" fmla="*/ 0 w 2518942"/>
              <a:gd name="connsiteY0-74" fmla="*/ 0 h 2616731"/>
              <a:gd name="connsiteX1-75" fmla="*/ 2241386 w 2518942"/>
              <a:gd name="connsiteY1-76" fmla="*/ 0 h 2616731"/>
              <a:gd name="connsiteX2-77" fmla="*/ 2518376 w 2518942"/>
              <a:gd name="connsiteY2-78" fmla="*/ 333120 h 2616731"/>
              <a:gd name="connsiteX3-79" fmla="*/ 2515238 w 2518942"/>
              <a:gd name="connsiteY3-80" fmla="*/ 2616731 h 2616731"/>
              <a:gd name="connsiteX4-81" fmla="*/ 0 w 2518942"/>
              <a:gd name="connsiteY4-82" fmla="*/ 2616731 h 2616731"/>
              <a:gd name="connsiteX5-83" fmla="*/ 0 w 2518942"/>
              <a:gd name="connsiteY5-84" fmla="*/ 0 h 2616731"/>
              <a:gd name="connsiteX0-85" fmla="*/ 0 w 2518942"/>
              <a:gd name="connsiteY0-86" fmla="*/ 0 h 2616731"/>
              <a:gd name="connsiteX1-87" fmla="*/ 2241386 w 2518942"/>
              <a:gd name="connsiteY1-88" fmla="*/ 0 h 2616731"/>
              <a:gd name="connsiteX2-89" fmla="*/ 2518376 w 2518942"/>
              <a:gd name="connsiteY2-90" fmla="*/ 333120 h 2616731"/>
              <a:gd name="connsiteX3-91" fmla="*/ 2515238 w 2518942"/>
              <a:gd name="connsiteY3-92" fmla="*/ 2616731 h 2616731"/>
              <a:gd name="connsiteX4-93" fmla="*/ 0 w 2518942"/>
              <a:gd name="connsiteY4-94" fmla="*/ 2616731 h 2616731"/>
              <a:gd name="connsiteX5-95" fmla="*/ 0 w 2518942"/>
              <a:gd name="connsiteY5-96" fmla="*/ 0 h 2616731"/>
              <a:gd name="connsiteX0-97" fmla="*/ 0 w 2515238"/>
              <a:gd name="connsiteY0-98" fmla="*/ 0 h 2616731"/>
              <a:gd name="connsiteX1-99" fmla="*/ 2241386 w 2515238"/>
              <a:gd name="connsiteY1-100" fmla="*/ 0 h 2616731"/>
              <a:gd name="connsiteX2-101" fmla="*/ 2511414 w 2515238"/>
              <a:gd name="connsiteY2-102" fmla="*/ 333120 h 2616731"/>
              <a:gd name="connsiteX3-103" fmla="*/ 2515238 w 2515238"/>
              <a:gd name="connsiteY3-104" fmla="*/ 2616731 h 2616731"/>
              <a:gd name="connsiteX4-105" fmla="*/ 0 w 2515238"/>
              <a:gd name="connsiteY4-106" fmla="*/ 2616731 h 2616731"/>
              <a:gd name="connsiteX5-107" fmla="*/ 0 w 2515238"/>
              <a:gd name="connsiteY5-108" fmla="*/ 0 h 2616731"/>
              <a:gd name="connsiteX0-109" fmla="*/ 0 w 2515238"/>
              <a:gd name="connsiteY0-110" fmla="*/ 0 h 2616731"/>
              <a:gd name="connsiteX1-111" fmla="*/ 2241386 w 2515238"/>
              <a:gd name="connsiteY1-112" fmla="*/ 0 h 2616731"/>
              <a:gd name="connsiteX2-113" fmla="*/ 2511414 w 2515238"/>
              <a:gd name="connsiteY2-114" fmla="*/ 335534 h 2616731"/>
              <a:gd name="connsiteX3-115" fmla="*/ 2515238 w 2515238"/>
              <a:gd name="connsiteY3-116" fmla="*/ 2616731 h 2616731"/>
              <a:gd name="connsiteX4-117" fmla="*/ 0 w 2515238"/>
              <a:gd name="connsiteY4-118" fmla="*/ 2616731 h 2616731"/>
              <a:gd name="connsiteX5-119" fmla="*/ 0 w 2515238"/>
              <a:gd name="connsiteY5-120" fmla="*/ 0 h 2616731"/>
              <a:gd name="connsiteX0-121" fmla="*/ 0 w 2516786"/>
              <a:gd name="connsiteY0-122" fmla="*/ 0 h 2616731"/>
              <a:gd name="connsiteX1-123" fmla="*/ 2241386 w 2516786"/>
              <a:gd name="connsiteY1-124" fmla="*/ 0 h 2616731"/>
              <a:gd name="connsiteX2-125" fmla="*/ 2516056 w 2516786"/>
              <a:gd name="connsiteY2-126" fmla="*/ 335534 h 2616731"/>
              <a:gd name="connsiteX3-127" fmla="*/ 2515238 w 2516786"/>
              <a:gd name="connsiteY3-128" fmla="*/ 2616731 h 2616731"/>
              <a:gd name="connsiteX4-129" fmla="*/ 0 w 2516786"/>
              <a:gd name="connsiteY4-130" fmla="*/ 2616731 h 2616731"/>
              <a:gd name="connsiteX5-131" fmla="*/ 0 w 2516786"/>
              <a:gd name="connsiteY5-132" fmla="*/ 0 h 2616731"/>
              <a:gd name="connsiteX0-133" fmla="*/ 0 w 2516786"/>
              <a:gd name="connsiteY0-134" fmla="*/ 0 h 2616731"/>
              <a:gd name="connsiteX1-135" fmla="*/ 2241386 w 2516786"/>
              <a:gd name="connsiteY1-136" fmla="*/ 0 h 2616731"/>
              <a:gd name="connsiteX2-137" fmla="*/ 2516056 w 2516786"/>
              <a:gd name="connsiteY2-138" fmla="*/ 335534 h 2616731"/>
              <a:gd name="connsiteX3-139" fmla="*/ 2515238 w 2516786"/>
              <a:gd name="connsiteY3-140" fmla="*/ 2616731 h 2616731"/>
              <a:gd name="connsiteX4-141" fmla="*/ 0 w 2516786"/>
              <a:gd name="connsiteY4-142" fmla="*/ 2616731 h 2616731"/>
              <a:gd name="connsiteX5-143" fmla="*/ 0 w 2516786"/>
              <a:gd name="connsiteY5-144" fmla="*/ 0 h 261673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16786" h="2616731">
                <a:moveTo>
                  <a:pt x="0" y="0"/>
                </a:moveTo>
                <a:lnTo>
                  <a:pt x="2241386" y="0"/>
                </a:lnTo>
                <a:cubicBezTo>
                  <a:pt x="2481475" y="0"/>
                  <a:pt x="2514315" y="99067"/>
                  <a:pt x="2516056" y="335534"/>
                </a:cubicBezTo>
                <a:cubicBezTo>
                  <a:pt x="2518878" y="1096738"/>
                  <a:pt x="2512416" y="1855527"/>
                  <a:pt x="2515238" y="2616731"/>
                </a:cubicBezTo>
                <a:lnTo>
                  <a:pt x="0" y="2616731"/>
                </a:lnTo>
                <a:lnTo>
                  <a:pt x="0" y="0"/>
                </a:lnTo>
                <a:close/>
              </a:path>
            </a:pathLst>
          </a:custGeom>
          <a:solidFill>
            <a:srgbClr val="005B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65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文本占位符 5"/>
          <p:cNvSpPr>
            <a:spLocks noGrp="1"/>
          </p:cNvSpPr>
          <p:nvPr>
            <p:ph type="body" sz="quarter" idx="14" hasCustomPrompt="1"/>
          </p:nvPr>
        </p:nvSpPr>
        <p:spPr>
          <a:xfrm>
            <a:off x="855662" y="3757939"/>
            <a:ext cx="858043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6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6pt </a:t>
            </a:r>
            <a:r>
              <a:rPr lang="zh-CN" altLang="en-US" dirty="0"/>
              <a:t>加粗</a:t>
            </a:r>
            <a:r>
              <a:rPr lang="en-US" altLang="zh-CN" dirty="0"/>
              <a:t> </a:t>
            </a:r>
            <a:endParaRPr lang="zh-CN" altLang="en-US" dirty="0"/>
          </a:p>
        </p:txBody>
      </p:sp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7369" y="5984177"/>
            <a:ext cx="1534187" cy="498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字右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1" name="矩形 10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7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6945807" y="1764000"/>
            <a:ext cx="3912464" cy="39353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22" hasCustomPrompt="1"/>
          </p:nvPr>
        </p:nvSpPr>
        <p:spPr>
          <a:xfrm>
            <a:off x="648000" y="1764000"/>
            <a:ext cx="5854400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表右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矩形 9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22" hasCustomPrompt="1"/>
          </p:nvPr>
        </p:nvSpPr>
        <p:spPr>
          <a:xfrm>
            <a:off x="5023527" y="1764000"/>
            <a:ext cx="5834744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8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648000" y="1764000"/>
            <a:ext cx="3969915" cy="39353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上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矩形 9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5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648000" y="1764000"/>
            <a:ext cx="10210270" cy="39353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双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1" name="矩形 10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9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648000" y="1764000"/>
            <a:ext cx="5003272" cy="277492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0" name="图表占位符 13"/>
          <p:cNvSpPr>
            <a:spLocks noGrp="1"/>
          </p:cNvSpPr>
          <p:nvPr>
            <p:ph type="chart" sz="quarter" idx="23"/>
          </p:nvPr>
        </p:nvSpPr>
        <p:spPr>
          <a:xfrm>
            <a:off x="5930900" y="1764000"/>
            <a:ext cx="4927370" cy="277492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1" name="文本占位符 11"/>
          <p:cNvSpPr>
            <a:spLocks noGrp="1"/>
          </p:cNvSpPr>
          <p:nvPr>
            <p:ph type="body" sz="quarter" idx="26" hasCustomPrompt="1"/>
          </p:nvPr>
        </p:nvSpPr>
        <p:spPr>
          <a:xfrm>
            <a:off x="648000" y="4838526"/>
            <a:ext cx="10210270" cy="86085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9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20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648001" y="1764000"/>
            <a:ext cx="6654500" cy="277492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1" name="图表占位符 13"/>
          <p:cNvSpPr>
            <a:spLocks noGrp="1"/>
          </p:cNvSpPr>
          <p:nvPr>
            <p:ph type="chart" sz="quarter" idx="23"/>
          </p:nvPr>
        </p:nvSpPr>
        <p:spPr>
          <a:xfrm>
            <a:off x="7607072" y="1764000"/>
            <a:ext cx="3251199" cy="12363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2" name="图表占位符 13"/>
          <p:cNvSpPr>
            <a:spLocks noGrp="1"/>
          </p:cNvSpPr>
          <p:nvPr>
            <p:ph type="chart" sz="quarter" idx="25"/>
          </p:nvPr>
        </p:nvSpPr>
        <p:spPr>
          <a:xfrm>
            <a:off x="7607072" y="3299973"/>
            <a:ext cx="3251199" cy="12389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3" name="文本占位符 11"/>
          <p:cNvSpPr>
            <a:spLocks noGrp="1"/>
          </p:cNvSpPr>
          <p:nvPr>
            <p:ph type="body" sz="quarter" idx="26" hasCustomPrompt="1"/>
          </p:nvPr>
        </p:nvSpPr>
        <p:spPr>
          <a:xfrm>
            <a:off x="648000" y="4838526"/>
            <a:ext cx="10210270" cy="86085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三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9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grpSp>
        <p:nvGrpSpPr>
          <p:cNvPr id="45" name="组合 44"/>
          <p:cNvGrpSpPr/>
          <p:nvPr userDrawn="1"/>
        </p:nvGrpSpPr>
        <p:grpSpPr>
          <a:xfrm>
            <a:off x="9109729" y="2112864"/>
            <a:ext cx="1762683" cy="1762683"/>
            <a:chOff x="5074007" y="2605210"/>
            <a:chExt cx="1376915" cy="1376915"/>
          </a:xfrm>
        </p:grpSpPr>
        <p:sp>
          <p:nvSpPr>
            <p:cNvPr id="46" name="矩形 45"/>
            <p:cNvSpPr/>
            <p:nvPr/>
          </p:nvSpPr>
          <p:spPr>
            <a:xfrm>
              <a:off x="5074007" y="2605210"/>
              <a:ext cx="1376915" cy="1376915"/>
            </a:xfrm>
            <a:prstGeom prst="rect">
              <a:avLst/>
            </a:prstGeom>
            <a:solidFill>
              <a:srgbClr val="629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sp>
          <p:nvSpPr>
            <p:cNvPr id="47" name="Freeform 19"/>
            <p:cNvSpPr/>
            <p:nvPr/>
          </p:nvSpPr>
          <p:spPr bwMode="auto">
            <a:xfrm>
              <a:off x="6145159" y="3078509"/>
              <a:ext cx="150832" cy="145379"/>
            </a:xfrm>
            <a:custGeom>
              <a:avLst/>
              <a:gdLst>
                <a:gd name="T0" fmla="*/ 83 w 83"/>
                <a:gd name="T1" fmla="*/ 26 h 80"/>
                <a:gd name="T2" fmla="*/ 57 w 83"/>
                <a:gd name="T3" fmla="*/ 26 h 80"/>
                <a:gd name="T4" fmla="*/ 57 w 83"/>
                <a:gd name="T5" fmla="*/ 0 h 80"/>
                <a:gd name="T6" fmla="*/ 29 w 83"/>
                <a:gd name="T7" fmla="*/ 0 h 80"/>
                <a:gd name="T8" fmla="*/ 29 w 83"/>
                <a:gd name="T9" fmla="*/ 26 h 80"/>
                <a:gd name="T10" fmla="*/ 0 w 83"/>
                <a:gd name="T11" fmla="*/ 26 h 80"/>
                <a:gd name="T12" fmla="*/ 0 w 83"/>
                <a:gd name="T13" fmla="*/ 54 h 80"/>
                <a:gd name="T14" fmla="*/ 29 w 83"/>
                <a:gd name="T15" fmla="*/ 54 h 80"/>
                <a:gd name="T16" fmla="*/ 29 w 83"/>
                <a:gd name="T17" fmla="*/ 80 h 80"/>
                <a:gd name="T18" fmla="*/ 57 w 83"/>
                <a:gd name="T19" fmla="*/ 80 h 80"/>
                <a:gd name="T20" fmla="*/ 57 w 83"/>
                <a:gd name="T21" fmla="*/ 54 h 80"/>
                <a:gd name="T22" fmla="*/ 83 w 83"/>
                <a:gd name="T23" fmla="*/ 54 h 80"/>
                <a:gd name="T24" fmla="*/ 83 w 83"/>
                <a:gd name="T25" fmla="*/ 2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80">
                  <a:moveTo>
                    <a:pt x="83" y="26"/>
                  </a:moveTo>
                  <a:lnTo>
                    <a:pt x="57" y="26"/>
                  </a:lnTo>
                  <a:lnTo>
                    <a:pt x="57" y="0"/>
                  </a:lnTo>
                  <a:lnTo>
                    <a:pt x="29" y="0"/>
                  </a:lnTo>
                  <a:lnTo>
                    <a:pt x="29" y="26"/>
                  </a:lnTo>
                  <a:lnTo>
                    <a:pt x="0" y="26"/>
                  </a:lnTo>
                  <a:lnTo>
                    <a:pt x="0" y="54"/>
                  </a:lnTo>
                  <a:lnTo>
                    <a:pt x="29" y="54"/>
                  </a:lnTo>
                  <a:lnTo>
                    <a:pt x="29" y="80"/>
                  </a:lnTo>
                  <a:lnTo>
                    <a:pt x="57" y="80"/>
                  </a:lnTo>
                  <a:lnTo>
                    <a:pt x="57" y="54"/>
                  </a:lnTo>
                  <a:lnTo>
                    <a:pt x="83" y="54"/>
                  </a:lnTo>
                  <a:lnTo>
                    <a:pt x="83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48" name="Freeform 20"/>
            <p:cNvSpPr/>
            <p:nvPr/>
          </p:nvSpPr>
          <p:spPr bwMode="auto">
            <a:xfrm>
              <a:off x="6099726" y="3274770"/>
              <a:ext cx="143562" cy="243510"/>
            </a:xfrm>
            <a:custGeom>
              <a:avLst/>
              <a:gdLst>
                <a:gd name="T0" fmla="*/ 17 w 25"/>
                <a:gd name="T1" fmla="*/ 25 h 42"/>
                <a:gd name="T2" fmla="*/ 8 w 25"/>
                <a:gd name="T3" fmla="*/ 34 h 42"/>
                <a:gd name="T4" fmla="*/ 5 w 25"/>
                <a:gd name="T5" fmla="*/ 34 h 42"/>
                <a:gd name="T6" fmla="*/ 0 w 25"/>
                <a:gd name="T7" fmla="*/ 38 h 42"/>
                <a:gd name="T8" fmla="*/ 5 w 25"/>
                <a:gd name="T9" fmla="*/ 42 h 42"/>
                <a:gd name="T10" fmla="*/ 8 w 25"/>
                <a:gd name="T11" fmla="*/ 42 h 42"/>
                <a:gd name="T12" fmla="*/ 25 w 25"/>
                <a:gd name="T13" fmla="*/ 25 h 42"/>
                <a:gd name="T14" fmla="*/ 25 w 25"/>
                <a:gd name="T15" fmla="*/ 0 h 42"/>
                <a:gd name="T16" fmla="*/ 17 w 25"/>
                <a:gd name="T17" fmla="*/ 0 h 42"/>
                <a:gd name="T18" fmla="*/ 17 w 25"/>
                <a:gd name="T19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42">
                  <a:moveTo>
                    <a:pt x="17" y="25"/>
                  </a:moveTo>
                  <a:cubicBezTo>
                    <a:pt x="17" y="30"/>
                    <a:pt x="13" y="34"/>
                    <a:pt x="8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2" y="34"/>
                    <a:pt x="0" y="36"/>
                    <a:pt x="0" y="38"/>
                  </a:cubicBezTo>
                  <a:cubicBezTo>
                    <a:pt x="0" y="41"/>
                    <a:pt x="2" y="42"/>
                    <a:pt x="5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18" y="42"/>
                    <a:pt x="25" y="35"/>
                    <a:pt x="25" y="25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7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49" name="Freeform 21"/>
            <p:cNvSpPr/>
            <p:nvPr/>
          </p:nvSpPr>
          <p:spPr bwMode="auto">
            <a:xfrm>
              <a:off x="5076621" y="2847719"/>
              <a:ext cx="1166668" cy="179908"/>
            </a:xfrm>
            <a:custGeom>
              <a:avLst/>
              <a:gdLst>
                <a:gd name="T0" fmla="*/ 186 w 203"/>
                <a:gd name="T1" fmla="*/ 0 h 31"/>
                <a:gd name="T2" fmla="*/ 0 w 203"/>
                <a:gd name="T3" fmla="*/ 0 h 31"/>
                <a:gd name="T4" fmla="*/ 0 w 203"/>
                <a:gd name="T5" fmla="*/ 9 h 31"/>
                <a:gd name="T6" fmla="*/ 186 w 203"/>
                <a:gd name="T7" fmla="*/ 9 h 31"/>
                <a:gd name="T8" fmla="*/ 195 w 203"/>
                <a:gd name="T9" fmla="*/ 17 h 31"/>
                <a:gd name="T10" fmla="*/ 195 w 203"/>
                <a:gd name="T11" fmla="*/ 31 h 31"/>
                <a:gd name="T12" fmla="*/ 203 w 203"/>
                <a:gd name="T13" fmla="*/ 31 h 31"/>
                <a:gd name="T14" fmla="*/ 203 w 203"/>
                <a:gd name="T15" fmla="*/ 17 h 31"/>
                <a:gd name="T16" fmla="*/ 186 w 203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31">
                  <a:moveTo>
                    <a:pt x="1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91" y="9"/>
                    <a:pt x="195" y="13"/>
                    <a:pt x="195" y="17"/>
                  </a:cubicBezTo>
                  <a:cubicBezTo>
                    <a:pt x="195" y="31"/>
                    <a:pt x="195" y="31"/>
                    <a:pt x="195" y="31"/>
                  </a:cubicBezTo>
                  <a:cubicBezTo>
                    <a:pt x="203" y="31"/>
                    <a:pt x="203" y="31"/>
                    <a:pt x="203" y="31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203" y="8"/>
                    <a:pt x="196" y="0"/>
                    <a:pt x="18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0" name="Freeform 22"/>
            <p:cNvSpPr>
              <a:spLocks noEditPoints="1"/>
            </p:cNvSpPr>
            <p:nvPr/>
          </p:nvSpPr>
          <p:spPr bwMode="auto">
            <a:xfrm>
              <a:off x="5278335" y="3580066"/>
              <a:ext cx="648756" cy="278039"/>
            </a:xfrm>
            <a:custGeom>
              <a:avLst/>
              <a:gdLst>
                <a:gd name="T0" fmla="*/ 113 w 113"/>
                <a:gd name="T1" fmla="*/ 31 h 48"/>
                <a:gd name="T2" fmla="*/ 95 w 113"/>
                <a:gd name="T3" fmla="*/ 12 h 48"/>
                <a:gd name="T4" fmla="*/ 70 w 113"/>
                <a:gd name="T5" fmla="*/ 2 h 48"/>
                <a:gd name="T6" fmla="*/ 55 w 113"/>
                <a:gd name="T7" fmla="*/ 0 h 48"/>
                <a:gd name="T8" fmla="*/ 42 w 113"/>
                <a:gd name="T9" fmla="*/ 2 h 48"/>
                <a:gd name="T10" fmla="*/ 18 w 113"/>
                <a:gd name="T11" fmla="*/ 12 h 48"/>
                <a:gd name="T12" fmla="*/ 0 w 113"/>
                <a:gd name="T13" fmla="*/ 31 h 48"/>
                <a:gd name="T14" fmla="*/ 1 w 113"/>
                <a:gd name="T15" fmla="*/ 34 h 48"/>
                <a:gd name="T16" fmla="*/ 58 w 113"/>
                <a:gd name="T17" fmla="*/ 48 h 48"/>
                <a:gd name="T18" fmla="*/ 110 w 113"/>
                <a:gd name="T19" fmla="*/ 38 h 48"/>
                <a:gd name="T20" fmla="*/ 113 w 113"/>
                <a:gd name="T21" fmla="*/ 32 h 48"/>
                <a:gd name="T22" fmla="*/ 113 w 113"/>
                <a:gd name="T23" fmla="*/ 31 h 48"/>
                <a:gd name="T24" fmla="*/ 58 w 113"/>
                <a:gd name="T25" fmla="*/ 40 h 48"/>
                <a:gd name="T26" fmla="*/ 9 w 113"/>
                <a:gd name="T27" fmla="*/ 31 h 48"/>
                <a:gd name="T28" fmla="*/ 22 w 113"/>
                <a:gd name="T29" fmla="*/ 19 h 48"/>
                <a:gd name="T30" fmla="*/ 44 w 113"/>
                <a:gd name="T31" fmla="*/ 10 h 48"/>
                <a:gd name="T32" fmla="*/ 45 w 113"/>
                <a:gd name="T33" fmla="*/ 10 h 48"/>
                <a:gd name="T34" fmla="*/ 55 w 113"/>
                <a:gd name="T35" fmla="*/ 9 h 48"/>
                <a:gd name="T36" fmla="*/ 69 w 113"/>
                <a:gd name="T37" fmla="*/ 10 h 48"/>
                <a:gd name="T38" fmla="*/ 90 w 113"/>
                <a:gd name="T39" fmla="*/ 19 h 48"/>
                <a:gd name="T40" fmla="*/ 104 w 113"/>
                <a:gd name="T41" fmla="*/ 32 h 48"/>
                <a:gd name="T42" fmla="*/ 58 w 113"/>
                <a:gd name="T43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3" h="48">
                  <a:moveTo>
                    <a:pt x="113" y="31"/>
                  </a:moveTo>
                  <a:cubicBezTo>
                    <a:pt x="111" y="24"/>
                    <a:pt x="105" y="18"/>
                    <a:pt x="95" y="12"/>
                  </a:cubicBezTo>
                  <a:cubicBezTo>
                    <a:pt x="86" y="6"/>
                    <a:pt x="75" y="3"/>
                    <a:pt x="70" y="2"/>
                  </a:cubicBezTo>
                  <a:cubicBezTo>
                    <a:pt x="65" y="1"/>
                    <a:pt x="60" y="0"/>
                    <a:pt x="55" y="0"/>
                  </a:cubicBezTo>
                  <a:cubicBezTo>
                    <a:pt x="48" y="0"/>
                    <a:pt x="43" y="1"/>
                    <a:pt x="42" y="2"/>
                  </a:cubicBezTo>
                  <a:cubicBezTo>
                    <a:pt x="37" y="3"/>
                    <a:pt x="27" y="7"/>
                    <a:pt x="18" y="12"/>
                  </a:cubicBezTo>
                  <a:cubicBezTo>
                    <a:pt x="8" y="18"/>
                    <a:pt x="2" y="24"/>
                    <a:pt x="0" y="31"/>
                  </a:cubicBezTo>
                  <a:cubicBezTo>
                    <a:pt x="0" y="32"/>
                    <a:pt x="0" y="33"/>
                    <a:pt x="1" y="34"/>
                  </a:cubicBezTo>
                  <a:cubicBezTo>
                    <a:pt x="2" y="36"/>
                    <a:pt x="10" y="48"/>
                    <a:pt x="58" y="48"/>
                  </a:cubicBezTo>
                  <a:cubicBezTo>
                    <a:pt x="86" y="48"/>
                    <a:pt x="104" y="45"/>
                    <a:pt x="110" y="38"/>
                  </a:cubicBezTo>
                  <a:cubicBezTo>
                    <a:pt x="113" y="35"/>
                    <a:pt x="113" y="32"/>
                    <a:pt x="113" y="32"/>
                  </a:cubicBezTo>
                  <a:cubicBezTo>
                    <a:pt x="113" y="31"/>
                    <a:pt x="113" y="31"/>
                    <a:pt x="113" y="31"/>
                  </a:cubicBezTo>
                  <a:close/>
                  <a:moveTo>
                    <a:pt x="58" y="40"/>
                  </a:moveTo>
                  <a:cubicBezTo>
                    <a:pt x="24" y="40"/>
                    <a:pt x="13" y="34"/>
                    <a:pt x="9" y="31"/>
                  </a:cubicBezTo>
                  <a:cubicBezTo>
                    <a:pt x="11" y="28"/>
                    <a:pt x="14" y="24"/>
                    <a:pt x="22" y="19"/>
                  </a:cubicBezTo>
                  <a:cubicBezTo>
                    <a:pt x="31" y="14"/>
                    <a:pt x="41" y="10"/>
                    <a:pt x="44" y="10"/>
                  </a:cubicBezTo>
                  <a:cubicBezTo>
                    <a:pt x="44" y="10"/>
                    <a:pt x="44" y="10"/>
                    <a:pt x="45" y="10"/>
                  </a:cubicBezTo>
                  <a:cubicBezTo>
                    <a:pt x="45" y="10"/>
                    <a:pt x="48" y="9"/>
                    <a:pt x="55" y="9"/>
                  </a:cubicBezTo>
                  <a:cubicBezTo>
                    <a:pt x="59" y="9"/>
                    <a:pt x="64" y="9"/>
                    <a:pt x="69" y="10"/>
                  </a:cubicBezTo>
                  <a:cubicBezTo>
                    <a:pt x="72" y="11"/>
                    <a:pt x="82" y="14"/>
                    <a:pt x="90" y="19"/>
                  </a:cubicBezTo>
                  <a:cubicBezTo>
                    <a:pt x="99" y="25"/>
                    <a:pt x="103" y="29"/>
                    <a:pt x="104" y="32"/>
                  </a:cubicBezTo>
                  <a:cubicBezTo>
                    <a:pt x="102" y="34"/>
                    <a:pt x="94" y="40"/>
                    <a:pt x="58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1" name="Freeform 23"/>
            <p:cNvSpPr>
              <a:spLocks noEditPoints="1"/>
            </p:cNvSpPr>
            <p:nvPr/>
          </p:nvSpPr>
          <p:spPr bwMode="auto">
            <a:xfrm>
              <a:off x="5450971" y="3263867"/>
              <a:ext cx="298027" cy="305295"/>
            </a:xfrm>
            <a:custGeom>
              <a:avLst/>
              <a:gdLst>
                <a:gd name="T0" fmla="*/ 0 w 52"/>
                <a:gd name="T1" fmla="*/ 26 h 53"/>
                <a:gd name="T2" fmla="*/ 26 w 52"/>
                <a:gd name="T3" fmla="*/ 53 h 53"/>
                <a:gd name="T4" fmla="*/ 52 w 52"/>
                <a:gd name="T5" fmla="*/ 26 h 53"/>
                <a:gd name="T6" fmla="*/ 26 w 52"/>
                <a:gd name="T7" fmla="*/ 0 h 53"/>
                <a:gd name="T8" fmla="*/ 0 w 52"/>
                <a:gd name="T9" fmla="*/ 26 h 53"/>
                <a:gd name="T10" fmla="*/ 26 w 52"/>
                <a:gd name="T11" fmla="*/ 9 h 53"/>
                <a:gd name="T12" fmla="*/ 44 w 52"/>
                <a:gd name="T13" fmla="*/ 26 h 53"/>
                <a:gd name="T14" fmla="*/ 26 w 52"/>
                <a:gd name="T15" fmla="*/ 44 h 53"/>
                <a:gd name="T16" fmla="*/ 9 w 52"/>
                <a:gd name="T17" fmla="*/ 26 h 53"/>
                <a:gd name="T18" fmla="*/ 26 w 52"/>
                <a:gd name="T19" fmla="*/ 9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3">
                  <a:moveTo>
                    <a:pt x="0" y="26"/>
                  </a:moveTo>
                  <a:cubicBezTo>
                    <a:pt x="0" y="41"/>
                    <a:pt x="12" y="53"/>
                    <a:pt x="26" y="53"/>
                  </a:cubicBezTo>
                  <a:cubicBezTo>
                    <a:pt x="41" y="53"/>
                    <a:pt x="52" y="41"/>
                    <a:pt x="52" y="26"/>
                  </a:cubicBezTo>
                  <a:cubicBezTo>
                    <a:pt x="52" y="12"/>
                    <a:pt x="41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lose/>
                  <a:moveTo>
                    <a:pt x="26" y="9"/>
                  </a:moveTo>
                  <a:cubicBezTo>
                    <a:pt x="36" y="9"/>
                    <a:pt x="44" y="17"/>
                    <a:pt x="44" y="26"/>
                  </a:cubicBezTo>
                  <a:cubicBezTo>
                    <a:pt x="44" y="36"/>
                    <a:pt x="36" y="44"/>
                    <a:pt x="26" y="44"/>
                  </a:cubicBezTo>
                  <a:cubicBezTo>
                    <a:pt x="17" y="44"/>
                    <a:pt x="9" y="36"/>
                    <a:pt x="9" y="26"/>
                  </a:cubicBezTo>
                  <a:cubicBezTo>
                    <a:pt x="9" y="17"/>
                    <a:pt x="17" y="9"/>
                    <a:pt x="26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2" name="Freeform 24"/>
            <p:cNvSpPr>
              <a:spLocks noEditPoints="1"/>
            </p:cNvSpPr>
            <p:nvPr/>
          </p:nvSpPr>
          <p:spPr bwMode="auto">
            <a:xfrm>
              <a:off x="5076621" y="3229341"/>
              <a:ext cx="408879" cy="461578"/>
            </a:xfrm>
            <a:custGeom>
              <a:avLst/>
              <a:gdLst>
                <a:gd name="T0" fmla="*/ 69 w 71"/>
                <a:gd name="T1" fmla="*/ 53 h 80"/>
                <a:gd name="T2" fmla="*/ 46 w 71"/>
                <a:gd name="T3" fmla="*/ 43 h 80"/>
                <a:gd name="T4" fmla="*/ 38 w 71"/>
                <a:gd name="T5" fmla="*/ 42 h 80"/>
                <a:gd name="T6" fmla="*/ 56 w 71"/>
                <a:gd name="T7" fmla="*/ 21 h 80"/>
                <a:gd name="T8" fmla="*/ 36 w 71"/>
                <a:gd name="T9" fmla="*/ 0 h 80"/>
                <a:gd name="T10" fmla="*/ 15 w 71"/>
                <a:gd name="T11" fmla="*/ 21 h 80"/>
                <a:gd name="T12" fmla="*/ 33 w 71"/>
                <a:gd name="T13" fmla="*/ 42 h 80"/>
                <a:gd name="T14" fmla="*/ 25 w 71"/>
                <a:gd name="T15" fmla="*/ 43 h 80"/>
                <a:gd name="T16" fmla="*/ 6 w 71"/>
                <a:gd name="T17" fmla="*/ 51 h 80"/>
                <a:gd name="T18" fmla="*/ 0 w 71"/>
                <a:gd name="T19" fmla="*/ 55 h 80"/>
                <a:gd name="T20" fmla="*/ 0 w 71"/>
                <a:gd name="T21" fmla="*/ 74 h 80"/>
                <a:gd name="T22" fmla="*/ 38 w 71"/>
                <a:gd name="T23" fmla="*/ 80 h 80"/>
                <a:gd name="T24" fmla="*/ 42 w 71"/>
                <a:gd name="T25" fmla="*/ 76 h 80"/>
                <a:gd name="T26" fmla="*/ 38 w 71"/>
                <a:gd name="T27" fmla="*/ 71 h 80"/>
                <a:gd name="T28" fmla="*/ 2 w 71"/>
                <a:gd name="T29" fmla="*/ 66 h 80"/>
                <a:gd name="T30" fmla="*/ 11 w 71"/>
                <a:gd name="T31" fmla="*/ 58 h 80"/>
                <a:gd name="T32" fmla="*/ 26 w 71"/>
                <a:gd name="T33" fmla="*/ 51 h 80"/>
                <a:gd name="T34" fmla="*/ 27 w 71"/>
                <a:gd name="T35" fmla="*/ 51 h 80"/>
                <a:gd name="T36" fmla="*/ 45 w 71"/>
                <a:gd name="T37" fmla="*/ 51 h 80"/>
                <a:gd name="T38" fmla="*/ 64 w 71"/>
                <a:gd name="T39" fmla="*/ 60 h 80"/>
                <a:gd name="T40" fmla="*/ 70 w 71"/>
                <a:gd name="T41" fmla="*/ 59 h 80"/>
                <a:gd name="T42" fmla="*/ 69 w 71"/>
                <a:gd name="T43" fmla="*/ 53 h 80"/>
                <a:gd name="T44" fmla="*/ 23 w 71"/>
                <a:gd name="T45" fmla="*/ 21 h 80"/>
                <a:gd name="T46" fmla="*/ 36 w 71"/>
                <a:gd name="T47" fmla="*/ 9 h 80"/>
                <a:gd name="T48" fmla="*/ 48 w 71"/>
                <a:gd name="T49" fmla="*/ 21 h 80"/>
                <a:gd name="T50" fmla="*/ 36 w 71"/>
                <a:gd name="T51" fmla="*/ 33 h 80"/>
                <a:gd name="T52" fmla="*/ 23 w 71"/>
                <a:gd name="T53" fmla="*/ 2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" h="80">
                  <a:moveTo>
                    <a:pt x="69" y="53"/>
                  </a:moveTo>
                  <a:cubicBezTo>
                    <a:pt x="61" y="48"/>
                    <a:pt x="50" y="43"/>
                    <a:pt x="46" y="43"/>
                  </a:cubicBezTo>
                  <a:cubicBezTo>
                    <a:pt x="43" y="42"/>
                    <a:pt x="40" y="42"/>
                    <a:pt x="38" y="42"/>
                  </a:cubicBezTo>
                  <a:cubicBezTo>
                    <a:pt x="48" y="41"/>
                    <a:pt x="56" y="32"/>
                    <a:pt x="56" y="21"/>
                  </a:cubicBezTo>
                  <a:cubicBezTo>
                    <a:pt x="56" y="10"/>
                    <a:pt x="47" y="0"/>
                    <a:pt x="36" y="0"/>
                  </a:cubicBezTo>
                  <a:cubicBezTo>
                    <a:pt x="24" y="0"/>
                    <a:pt x="15" y="10"/>
                    <a:pt x="15" y="21"/>
                  </a:cubicBezTo>
                  <a:cubicBezTo>
                    <a:pt x="15" y="32"/>
                    <a:pt x="23" y="40"/>
                    <a:pt x="33" y="42"/>
                  </a:cubicBezTo>
                  <a:cubicBezTo>
                    <a:pt x="29" y="42"/>
                    <a:pt x="26" y="42"/>
                    <a:pt x="25" y="43"/>
                  </a:cubicBezTo>
                  <a:cubicBezTo>
                    <a:pt x="21" y="43"/>
                    <a:pt x="13" y="47"/>
                    <a:pt x="6" y="51"/>
                  </a:cubicBezTo>
                  <a:cubicBezTo>
                    <a:pt x="4" y="52"/>
                    <a:pt x="1" y="54"/>
                    <a:pt x="0" y="5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6" y="77"/>
                    <a:pt x="17" y="80"/>
                    <a:pt x="38" y="80"/>
                  </a:cubicBezTo>
                  <a:cubicBezTo>
                    <a:pt x="40" y="80"/>
                    <a:pt x="42" y="78"/>
                    <a:pt x="42" y="76"/>
                  </a:cubicBezTo>
                  <a:cubicBezTo>
                    <a:pt x="42" y="73"/>
                    <a:pt x="40" y="71"/>
                    <a:pt x="38" y="71"/>
                  </a:cubicBezTo>
                  <a:cubicBezTo>
                    <a:pt x="14" y="71"/>
                    <a:pt x="5" y="68"/>
                    <a:pt x="2" y="66"/>
                  </a:cubicBezTo>
                  <a:cubicBezTo>
                    <a:pt x="3" y="64"/>
                    <a:pt x="5" y="61"/>
                    <a:pt x="11" y="58"/>
                  </a:cubicBezTo>
                  <a:cubicBezTo>
                    <a:pt x="17" y="54"/>
                    <a:pt x="24" y="51"/>
                    <a:pt x="26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7" y="51"/>
                    <a:pt x="33" y="49"/>
                    <a:pt x="45" y="51"/>
                  </a:cubicBezTo>
                  <a:cubicBezTo>
                    <a:pt x="47" y="51"/>
                    <a:pt x="57" y="55"/>
                    <a:pt x="64" y="60"/>
                  </a:cubicBezTo>
                  <a:cubicBezTo>
                    <a:pt x="66" y="61"/>
                    <a:pt x="69" y="61"/>
                    <a:pt x="70" y="59"/>
                  </a:cubicBezTo>
                  <a:cubicBezTo>
                    <a:pt x="71" y="57"/>
                    <a:pt x="71" y="54"/>
                    <a:pt x="69" y="53"/>
                  </a:cubicBezTo>
                  <a:close/>
                  <a:moveTo>
                    <a:pt x="23" y="21"/>
                  </a:moveTo>
                  <a:cubicBezTo>
                    <a:pt x="23" y="14"/>
                    <a:pt x="29" y="9"/>
                    <a:pt x="36" y="9"/>
                  </a:cubicBezTo>
                  <a:cubicBezTo>
                    <a:pt x="42" y="9"/>
                    <a:pt x="48" y="14"/>
                    <a:pt x="48" y="21"/>
                  </a:cubicBezTo>
                  <a:cubicBezTo>
                    <a:pt x="48" y="28"/>
                    <a:pt x="42" y="33"/>
                    <a:pt x="36" y="33"/>
                  </a:cubicBezTo>
                  <a:cubicBezTo>
                    <a:pt x="29" y="33"/>
                    <a:pt x="23" y="28"/>
                    <a:pt x="23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3" name="Freeform 25"/>
            <p:cNvSpPr>
              <a:spLocks noEditPoints="1"/>
            </p:cNvSpPr>
            <p:nvPr/>
          </p:nvSpPr>
          <p:spPr bwMode="auto">
            <a:xfrm>
              <a:off x="5738096" y="3229341"/>
              <a:ext cx="425234" cy="461578"/>
            </a:xfrm>
            <a:custGeom>
              <a:avLst/>
              <a:gdLst>
                <a:gd name="T0" fmla="*/ 60 w 74"/>
                <a:gd name="T1" fmla="*/ 51 h 80"/>
                <a:gd name="T2" fmla="*/ 42 w 74"/>
                <a:gd name="T3" fmla="*/ 43 h 80"/>
                <a:gd name="T4" fmla="*/ 33 w 74"/>
                <a:gd name="T5" fmla="*/ 42 h 80"/>
                <a:gd name="T6" fmla="*/ 51 w 74"/>
                <a:gd name="T7" fmla="*/ 21 h 80"/>
                <a:gd name="T8" fmla="*/ 31 w 74"/>
                <a:gd name="T9" fmla="*/ 0 h 80"/>
                <a:gd name="T10" fmla="*/ 10 w 74"/>
                <a:gd name="T11" fmla="*/ 21 h 80"/>
                <a:gd name="T12" fmla="*/ 28 w 74"/>
                <a:gd name="T13" fmla="*/ 42 h 80"/>
                <a:gd name="T14" fmla="*/ 20 w 74"/>
                <a:gd name="T15" fmla="*/ 43 h 80"/>
                <a:gd name="T16" fmla="*/ 2 w 74"/>
                <a:gd name="T17" fmla="*/ 50 h 80"/>
                <a:gd name="T18" fmla="*/ 1 w 74"/>
                <a:gd name="T19" fmla="*/ 56 h 80"/>
                <a:gd name="T20" fmla="*/ 7 w 74"/>
                <a:gd name="T21" fmla="*/ 57 h 80"/>
                <a:gd name="T22" fmla="*/ 21 w 74"/>
                <a:gd name="T23" fmla="*/ 51 h 80"/>
                <a:gd name="T24" fmla="*/ 39 w 74"/>
                <a:gd name="T25" fmla="*/ 51 h 80"/>
                <a:gd name="T26" fmla="*/ 40 w 74"/>
                <a:gd name="T27" fmla="*/ 51 h 80"/>
                <a:gd name="T28" fmla="*/ 56 w 74"/>
                <a:gd name="T29" fmla="*/ 58 h 80"/>
                <a:gd name="T30" fmla="*/ 65 w 74"/>
                <a:gd name="T31" fmla="*/ 66 h 80"/>
                <a:gd name="T32" fmla="*/ 35 w 74"/>
                <a:gd name="T33" fmla="*/ 71 h 80"/>
                <a:gd name="T34" fmla="*/ 31 w 74"/>
                <a:gd name="T35" fmla="*/ 76 h 80"/>
                <a:gd name="T36" fmla="*/ 35 w 74"/>
                <a:gd name="T37" fmla="*/ 80 h 80"/>
                <a:gd name="T38" fmla="*/ 35 w 74"/>
                <a:gd name="T39" fmla="*/ 80 h 80"/>
                <a:gd name="T40" fmla="*/ 74 w 74"/>
                <a:gd name="T41" fmla="*/ 68 h 80"/>
                <a:gd name="T42" fmla="*/ 74 w 74"/>
                <a:gd name="T43" fmla="*/ 65 h 80"/>
                <a:gd name="T44" fmla="*/ 60 w 74"/>
                <a:gd name="T45" fmla="*/ 51 h 80"/>
                <a:gd name="T46" fmla="*/ 18 w 74"/>
                <a:gd name="T47" fmla="*/ 21 h 80"/>
                <a:gd name="T48" fmla="*/ 31 w 74"/>
                <a:gd name="T49" fmla="*/ 9 h 80"/>
                <a:gd name="T50" fmla="*/ 43 w 74"/>
                <a:gd name="T51" fmla="*/ 21 h 80"/>
                <a:gd name="T52" fmla="*/ 31 w 74"/>
                <a:gd name="T53" fmla="*/ 33 h 80"/>
                <a:gd name="T54" fmla="*/ 18 w 74"/>
                <a:gd name="T55" fmla="*/ 2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4" h="80">
                  <a:moveTo>
                    <a:pt x="60" y="51"/>
                  </a:moveTo>
                  <a:cubicBezTo>
                    <a:pt x="53" y="47"/>
                    <a:pt x="45" y="43"/>
                    <a:pt x="42" y="43"/>
                  </a:cubicBezTo>
                  <a:cubicBezTo>
                    <a:pt x="40" y="42"/>
                    <a:pt x="38" y="42"/>
                    <a:pt x="33" y="42"/>
                  </a:cubicBezTo>
                  <a:cubicBezTo>
                    <a:pt x="43" y="40"/>
                    <a:pt x="51" y="32"/>
                    <a:pt x="51" y="21"/>
                  </a:cubicBezTo>
                  <a:cubicBezTo>
                    <a:pt x="51" y="10"/>
                    <a:pt x="42" y="0"/>
                    <a:pt x="31" y="0"/>
                  </a:cubicBezTo>
                  <a:cubicBezTo>
                    <a:pt x="19" y="0"/>
                    <a:pt x="10" y="10"/>
                    <a:pt x="10" y="21"/>
                  </a:cubicBezTo>
                  <a:cubicBezTo>
                    <a:pt x="10" y="32"/>
                    <a:pt x="18" y="41"/>
                    <a:pt x="28" y="42"/>
                  </a:cubicBezTo>
                  <a:cubicBezTo>
                    <a:pt x="26" y="42"/>
                    <a:pt x="23" y="42"/>
                    <a:pt x="20" y="43"/>
                  </a:cubicBezTo>
                  <a:cubicBezTo>
                    <a:pt x="17" y="43"/>
                    <a:pt x="10" y="46"/>
                    <a:pt x="2" y="50"/>
                  </a:cubicBezTo>
                  <a:cubicBezTo>
                    <a:pt x="0" y="51"/>
                    <a:pt x="0" y="54"/>
                    <a:pt x="1" y="56"/>
                  </a:cubicBezTo>
                  <a:cubicBezTo>
                    <a:pt x="2" y="58"/>
                    <a:pt x="5" y="59"/>
                    <a:pt x="7" y="57"/>
                  </a:cubicBezTo>
                  <a:cubicBezTo>
                    <a:pt x="13" y="54"/>
                    <a:pt x="19" y="51"/>
                    <a:pt x="21" y="51"/>
                  </a:cubicBezTo>
                  <a:cubicBezTo>
                    <a:pt x="33" y="49"/>
                    <a:pt x="39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2" y="51"/>
                    <a:pt x="49" y="54"/>
                    <a:pt x="56" y="58"/>
                  </a:cubicBezTo>
                  <a:cubicBezTo>
                    <a:pt x="61" y="61"/>
                    <a:pt x="64" y="64"/>
                    <a:pt x="65" y="66"/>
                  </a:cubicBezTo>
                  <a:cubicBezTo>
                    <a:pt x="62" y="67"/>
                    <a:pt x="55" y="71"/>
                    <a:pt x="35" y="71"/>
                  </a:cubicBezTo>
                  <a:cubicBezTo>
                    <a:pt x="32" y="71"/>
                    <a:pt x="31" y="73"/>
                    <a:pt x="31" y="76"/>
                  </a:cubicBezTo>
                  <a:cubicBezTo>
                    <a:pt x="31" y="78"/>
                    <a:pt x="32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68" y="79"/>
                    <a:pt x="73" y="70"/>
                    <a:pt x="74" y="68"/>
                  </a:cubicBezTo>
                  <a:cubicBezTo>
                    <a:pt x="74" y="67"/>
                    <a:pt x="74" y="66"/>
                    <a:pt x="74" y="65"/>
                  </a:cubicBezTo>
                  <a:cubicBezTo>
                    <a:pt x="72" y="60"/>
                    <a:pt x="68" y="55"/>
                    <a:pt x="60" y="51"/>
                  </a:cubicBezTo>
                  <a:close/>
                  <a:moveTo>
                    <a:pt x="18" y="21"/>
                  </a:moveTo>
                  <a:cubicBezTo>
                    <a:pt x="18" y="14"/>
                    <a:pt x="24" y="9"/>
                    <a:pt x="31" y="9"/>
                  </a:cubicBezTo>
                  <a:cubicBezTo>
                    <a:pt x="37" y="9"/>
                    <a:pt x="43" y="14"/>
                    <a:pt x="43" y="21"/>
                  </a:cubicBezTo>
                  <a:cubicBezTo>
                    <a:pt x="43" y="28"/>
                    <a:pt x="37" y="33"/>
                    <a:pt x="31" y="33"/>
                  </a:cubicBezTo>
                  <a:cubicBezTo>
                    <a:pt x="24" y="33"/>
                    <a:pt x="18" y="28"/>
                    <a:pt x="18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</p:grpSp>
      <p:grpSp>
        <p:nvGrpSpPr>
          <p:cNvPr id="54" name="组合 53"/>
          <p:cNvGrpSpPr/>
          <p:nvPr userDrawn="1"/>
        </p:nvGrpSpPr>
        <p:grpSpPr>
          <a:xfrm>
            <a:off x="6325263" y="2118575"/>
            <a:ext cx="1762683" cy="1762683"/>
            <a:chOff x="7254587" y="2605210"/>
            <a:chExt cx="1376915" cy="1376915"/>
          </a:xfrm>
        </p:grpSpPr>
        <p:sp>
          <p:nvSpPr>
            <p:cNvPr id="55" name="矩形 54"/>
            <p:cNvSpPr/>
            <p:nvPr/>
          </p:nvSpPr>
          <p:spPr>
            <a:xfrm>
              <a:off x="7254587" y="2605210"/>
              <a:ext cx="1376915" cy="1376915"/>
            </a:xfrm>
            <a:prstGeom prst="rect">
              <a:avLst/>
            </a:prstGeom>
            <a:solidFill>
              <a:srgbClr val="A1A1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grpSp>
          <p:nvGrpSpPr>
            <p:cNvPr id="56" name="组合 55"/>
            <p:cNvGrpSpPr/>
            <p:nvPr/>
          </p:nvGrpSpPr>
          <p:grpSpPr>
            <a:xfrm>
              <a:off x="7254587" y="2789568"/>
              <a:ext cx="1090344" cy="1010387"/>
              <a:chOff x="7255368" y="2789568"/>
              <a:chExt cx="1090344" cy="1010387"/>
            </a:xfrm>
          </p:grpSpPr>
          <p:sp>
            <p:nvSpPr>
              <p:cNvPr id="57" name="Freeform 11"/>
              <p:cNvSpPr/>
              <p:nvPr/>
            </p:nvSpPr>
            <p:spPr bwMode="auto">
              <a:xfrm>
                <a:off x="7255368" y="3547358"/>
                <a:ext cx="556074" cy="67239"/>
              </a:xfrm>
              <a:custGeom>
                <a:avLst/>
                <a:gdLst>
                  <a:gd name="T0" fmla="*/ 75 w 75"/>
                  <a:gd name="T1" fmla="*/ 9 h 9"/>
                  <a:gd name="T2" fmla="*/ 75 w 75"/>
                  <a:gd name="T3" fmla="*/ 1 h 9"/>
                  <a:gd name="T4" fmla="*/ 7 w 75"/>
                  <a:gd name="T5" fmla="*/ 1 h 9"/>
                  <a:gd name="T6" fmla="*/ 0 w 75"/>
                  <a:gd name="T7" fmla="*/ 0 h 9"/>
                  <a:gd name="T8" fmla="*/ 0 w 75"/>
                  <a:gd name="T9" fmla="*/ 7 h 9"/>
                  <a:gd name="T10" fmla="*/ 7 w 75"/>
                  <a:gd name="T11" fmla="*/ 9 h 9"/>
                  <a:gd name="T12" fmla="*/ 75 w 75"/>
                  <a:gd name="T1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5" h="9">
                    <a:moveTo>
                      <a:pt x="75" y="9"/>
                    </a:moveTo>
                    <a:cubicBezTo>
                      <a:pt x="75" y="1"/>
                      <a:pt x="75" y="1"/>
                      <a:pt x="75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4" y="1"/>
                      <a:pt x="2" y="1"/>
                      <a:pt x="0" y="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8"/>
                      <a:pt x="4" y="9"/>
                      <a:pt x="7" y="9"/>
                    </a:cubicBezTo>
                    <a:lnTo>
                      <a:pt x="75" y="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Freeform 12"/>
              <p:cNvSpPr>
                <a:spLocks noEditPoints="1"/>
              </p:cNvSpPr>
              <p:nvPr/>
            </p:nvSpPr>
            <p:spPr bwMode="auto">
              <a:xfrm>
                <a:off x="7582471" y="3027628"/>
                <a:ext cx="318017" cy="356178"/>
              </a:xfrm>
              <a:custGeom>
                <a:avLst/>
                <a:gdLst>
                  <a:gd name="T0" fmla="*/ 43 w 43"/>
                  <a:gd name="T1" fmla="*/ 23 h 48"/>
                  <a:gd name="T2" fmla="*/ 43 w 43"/>
                  <a:gd name="T3" fmla="*/ 22 h 48"/>
                  <a:gd name="T4" fmla="*/ 43 w 43"/>
                  <a:gd name="T5" fmla="*/ 22 h 48"/>
                  <a:gd name="T6" fmla="*/ 42 w 43"/>
                  <a:gd name="T7" fmla="*/ 22 h 48"/>
                  <a:gd name="T8" fmla="*/ 42 w 43"/>
                  <a:gd name="T9" fmla="*/ 21 h 48"/>
                  <a:gd name="T10" fmla="*/ 42 w 43"/>
                  <a:gd name="T11" fmla="*/ 21 h 48"/>
                  <a:gd name="T12" fmla="*/ 5 w 43"/>
                  <a:gd name="T13" fmla="*/ 0 h 48"/>
                  <a:gd name="T14" fmla="*/ 5 w 43"/>
                  <a:gd name="T15" fmla="*/ 0 h 48"/>
                  <a:gd name="T16" fmla="*/ 4 w 43"/>
                  <a:gd name="T17" fmla="*/ 0 h 48"/>
                  <a:gd name="T18" fmla="*/ 3 w 43"/>
                  <a:gd name="T19" fmla="*/ 0 h 48"/>
                  <a:gd name="T20" fmla="*/ 3 w 43"/>
                  <a:gd name="T21" fmla="*/ 0 h 48"/>
                  <a:gd name="T22" fmla="*/ 3 w 43"/>
                  <a:gd name="T23" fmla="*/ 0 h 48"/>
                  <a:gd name="T24" fmla="*/ 2 w 43"/>
                  <a:gd name="T25" fmla="*/ 0 h 48"/>
                  <a:gd name="T26" fmla="*/ 1 w 43"/>
                  <a:gd name="T27" fmla="*/ 0 h 48"/>
                  <a:gd name="T28" fmla="*/ 1 w 43"/>
                  <a:gd name="T29" fmla="*/ 1 h 48"/>
                  <a:gd name="T30" fmla="*/ 0 w 43"/>
                  <a:gd name="T31" fmla="*/ 1 h 48"/>
                  <a:gd name="T32" fmla="*/ 0 w 43"/>
                  <a:gd name="T33" fmla="*/ 2 h 48"/>
                  <a:gd name="T34" fmla="*/ 0 w 43"/>
                  <a:gd name="T35" fmla="*/ 2 h 48"/>
                  <a:gd name="T36" fmla="*/ 0 w 43"/>
                  <a:gd name="T37" fmla="*/ 2 h 48"/>
                  <a:gd name="T38" fmla="*/ 0 w 43"/>
                  <a:gd name="T39" fmla="*/ 3 h 48"/>
                  <a:gd name="T40" fmla="*/ 0 w 43"/>
                  <a:gd name="T41" fmla="*/ 3 h 48"/>
                  <a:gd name="T42" fmla="*/ 0 w 43"/>
                  <a:gd name="T43" fmla="*/ 45 h 48"/>
                  <a:gd name="T44" fmla="*/ 0 w 43"/>
                  <a:gd name="T45" fmla="*/ 45 h 48"/>
                  <a:gd name="T46" fmla="*/ 0 w 43"/>
                  <a:gd name="T47" fmla="*/ 46 h 48"/>
                  <a:gd name="T48" fmla="*/ 0 w 43"/>
                  <a:gd name="T49" fmla="*/ 46 h 48"/>
                  <a:gd name="T50" fmla="*/ 0 w 43"/>
                  <a:gd name="T51" fmla="*/ 47 h 48"/>
                  <a:gd name="T52" fmla="*/ 2 w 43"/>
                  <a:gd name="T53" fmla="*/ 48 h 48"/>
                  <a:gd name="T54" fmla="*/ 2 w 43"/>
                  <a:gd name="T55" fmla="*/ 48 h 48"/>
                  <a:gd name="T56" fmla="*/ 3 w 43"/>
                  <a:gd name="T57" fmla="*/ 48 h 48"/>
                  <a:gd name="T58" fmla="*/ 3 w 43"/>
                  <a:gd name="T59" fmla="*/ 48 h 48"/>
                  <a:gd name="T60" fmla="*/ 3 w 43"/>
                  <a:gd name="T61" fmla="*/ 48 h 48"/>
                  <a:gd name="T62" fmla="*/ 3 w 43"/>
                  <a:gd name="T63" fmla="*/ 48 h 48"/>
                  <a:gd name="T64" fmla="*/ 4 w 43"/>
                  <a:gd name="T65" fmla="*/ 48 h 48"/>
                  <a:gd name="T66" fmla="*/ 5 w 43"/>
                  <a:gd name="T67" fmla="*/ 48 h 48"/>
                  <a:gd name="T68" fmla="*/ 5 w 43"/>
                  <a:gd name="T69" fmla="*/ 48 h 48"/>
                  <a:gd name="T70" fmla="*/ 42 w 43"/>
                  <a:gd name="T71" fmla="*/ 27 h 48"/>
                  <a:gd name="T72" fmla="*/ 42 w 43"/>
                  <a:gd name="T73" fmla="*/ 27 h 48"/>
                  <a:gd name="T74" fmla="*/ 43 w 43"/>
                  <a:gd name="T75" fmla="*/ 26 h 48"/>
                  <a:gd name="T76" fmla="*/ 43 w 43"/>
                  <a:gd name="T77" fmla="*/ 26 h 48"/>
                  <a:gd name="T78" fmla="*/ 43 w 43"/>
                  <a:gd name="T79" fmla="*/ 26 h 48"/>
                  <a:gd name="T80" fmla="*/ 43 w 43"/>
                  <a:gd name="T81" fmla="*/ 25 h 48"/>
                  <a:gd name="T82" fmla="*/ 43 w 43"/>
                  <a:gd name="T83" fmla="*/ 25 h 48"/>
                  <a:gd name="T84" fmla="*/ 43 w 43"/>
                  <a:gd name="T85" fmla="*/ 24 h 48"/>
                  <a:gd name="T86" fmla="*/ 43 w 43"/>
                  <a:gd name="T87" fmla="*/ 23 h 48"/>
                  <a:gd name="T88" fmla="*/ 43 w 43"/>
                  <a:gd name="T89" fmla="*/ 23 h 48"/>
                  <a:gd name="T90" fmla="*/ 7 w 43"/>
                  <a:gd name="T91" fmla="*/ 39 h 48"/>
                  <a:gd name="T92" fmla="*/ 7 w 43"/>
                  <a:gd name="T93" fmla="*/ 9 h 48"/>
                  <a:gd name="T94" fmla="*/ 33 w 43"/>
                  <a:gd name="T95" fmla="*/ 24 h 48"/>
                  <a:gd name="T96" fmla="*/ 7 w 43"/>
                  <a:gd name="T97" fmla="*/ 39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3" h="48">
                    <a:moveTo>
                      <a:pt x="43" y="23"/>
                    </a:moveTo>
                    <a:cubicBezTo>
                      <a:pt x="43" y="23"/>
                      <a:pt x="43" y="22"/>
                      <a:pt x="43" y="22"/>
                    </a:cubicBezTo>
                    <a:cubicBezTo>
                      <a:pt x="43" y="22"/>
                      <a:pt x="43" y="22"/>
                      <a:pt x="43" y="22"/>
                    </a:cubicBezTo>
                    <a:cubicBezTo>
                      <a:pt x="43" y="22"/>
                      <a:pt x="43" y="22"/>
                      <a:pt x="42" y="22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6"/>
                      <a:pt x="0" y="46"/>
                      <a:pt x="0" y="47"/>
                    </a:cubicBezTo>
                    <a:cubicBezTo>
                      <a:pt x="1" y="47"/>
                      <a:pt x="1" y="48"/>
                      <a:pt x="2" y="48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2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2" y="27"/>
                      <a:pt x="43" y="26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6"/>
                      <a:pt x="43" y="26"/>
                      <a:pt x="43" y="25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3" y="24"/>
                      <a:pt x="43" y="24"/>
                      <a:pt x="43" y="23"/>
                    </a:cubicBezTo>
                    <a:cubicBezTo>
                      <a:pt x="43" y="23"/>
                      <a:pt x="43" y="23"/>
                      <a:pt x="43" y="23"/>
                    </a:cubicBezTo>
                    <a:close/>
                    <a:moveTo>
                      <a:pt x="7" y="39"/>
                    </a:moveTo>
                    <a:cubicBezTo>
                      <a:pt x="7" y="9"/>
                      <a:pt x="7" y="9"/>
                      <a:pt x="7" y="9"/>
                    </a:cubicBezTo>
                    <a:cubicBezTo>
                      <a:pt x="33" y="24"/>
                      <a:pt x="33" y="24"/>
                      <a:pt x="33" y="24"/>
                    </a:cubicBezTo>
                    <a:lnTo>
                      <a:pt x="7" y="3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 13"/>
              <p:cNvSpPr/>
              <p:nvPr/>
            </p:nvSpPr>
            <p:spPr bwMode="auto">
              <a:xfrm>
                <a:off x="7277177" y="3739985"/>
                <a:ext cx="928609" cy="59970"/>
              </a:xfrm>
              <a:custGeom>
                <a:avLst/>
                <a:gdLst>
                  <a:gd name="T0" fmla="*/ 121 w 125"/>
                  <a:gd name="T1" fmla="*/ 0 h 8"/>
                  <a:gd name="T2" fmla="*/ 4 w 125"/>
                  <a:gd name="T3" fmla="*/ 0 h 8"/>
                  <a:gd name="T4" fmla="*/ 0 w 125"/>
                  <a:gd name="T5" fmla="*/ 4 h 8"/>
                  <a:gd name="T6" fmla="*/ 4 w 125"/>
                  <a:gd name="T7" fmla="*/ 8 h 8"/>
                  <a:gd name="T8" fmla="*/ 121 w 125"/>
                  <a:gd name="T9" fmla="*/ 8 h 8"/>
                  <a:gd name="T10" fmla="*/ 125 w 125"/>
                  <a:gd name="T11" fmla="*/ 4 h 8"/>
                  <a:gd name="T12" fmla="*/ 121 w 125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5" h="8">
                    <a:moveTo>
                      <a:pt x="121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1" y="8"/>
                      <a:pt x="121" y="8"/>
                      <a:pt x="121" y="8"/>
                    </a:cubicBezTo>
                    <a:cubicBezTo>
                      <a:pt x="123" y="8"/>
                      <a:pt x="125" y="6"/>
                      <a:pt x="125" y="4"/>
                    </a:cubicBezTo>
                    <a:cubicBezTo>
                      <a:pt x="125" y="2"/>
                      <a:pt x="123" y="0"/>
                      <a:pt x="12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Freeform 14"/>
              <p:cNvSpPr/>
              <p:nvPr/>
            </p:nvSpPr>
            <p:spPr bwMode="auto">
              <a:xfrm>
                <a:off x="7864145" y="3501926"/>
                <a:ext cx="154466" cy="163552"/>
              </a:xfrm>
              <a:custGeom>
                <a:avLst/>
                <a:gdLst>
                  <a:gd name="T0" fmla="*/ 28 w 85"/>
                  <a:gd name="T1" fmla="*/ 0 h 90"/>
                  <a:gd name="T2" fmla="*/ 28 w 85"/>
                  <a:gd name="T3" fmla="*/ 29 h 90"/>
                  <a:gd name="T4" fmla="*/ 0 w 85"/>
                  <a:gd name="T5" fmla="*/ 29 h 90"/>
                  <a:gd name="T6" fmla="*/ 0 w 85"/>
                  <a:gd name="T7" fmla="*/ 29 h 90"/>
                  <a:gd name="T8" fmla="*/ 0 w 85"/>
                  <a:gd name="T9" fmla="*/ 58 h 90"/>
                  <a:gd name="T10" fmla="*/ 0 w 85"/>
                  <a:gd name="T11" fmla="*/ 62 h 90"/>
                  <a:gd name="T12" fmla="*/ 28 w 85"/>
                  <a:gd name="T13" fmla="*/ 62 h 90"/>
                  <a:gd name="T14" fmla="*/ 28 w 85"/>
                  <a:gd name="T15" fmla="*/ 90 h 90"/>
                  <a:gd name="T16" fmla="*/ 57 w 85"/>
                  <a:gd name="T17" fmla="*/ 90 h 90"/>
                  <a:gd name="T18" fmla="*/ 57 w 85"/>
                  <a:gd name="T19" fmla="*/ 62 h 90"/>
                  <a:gd name="T20" fmla="*/ 85 w 85"/>
                  <a:gd name="T21" fmla="*/ 62 h 90"/>
                  <a:gd name="T22" fmla="*/ 85 w 85"/>
                  <a:gd name="T23" fmla="*/ 58 h 90"/>
                  <a:gd name="T24" fmla="*/ 85 w 85"/>
                  <a:gd name="T25" fmla="*/ 29 h 90"/>
                  <a:gd name="T26" fmla="*/ 85 w 85"/>
                  <a:gd name="T27" fmla="*/ 29 h 90"/>
                  <a:gd name="T28" fmla="*/ 57 w 85"/>
                  <a:gd name="T29" fmla="*/ 29 h 90"/>
                  <a:gd name="T30" fmla="*/ 57 w 85"/>
                  <a:gd name="T31" fmla="*/ 0 h 90"/>
                  <a:gd name="T32" fmla="*/ 28 w 85"/>
                  <a:gd name="T33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5" h="90">
                    <a:moveTo>
                      <a:pt x="28" y="0"/>
                    </a:moveTo>
                    <a:lnTo>
                      <a:pt x="28" y="29"/>
                    </a:lnTo>
                    <a:lnTo>
                      <a:pt x="0" y="29"/>
                    </a:lnTo>
                    <a:lnTo>
                      <a:pt x="0" y="29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28" y="62"/>
                    </a:lnTo>
                    <a:lnTo>
                      <a:pt x="28" y="90"/>
                    </a:lnTo>
                    <a:lnTo>
                      <a:pt x="57" y="90"/>
                    </a:lnTo>
                    <a:lnTo>
                      <a:pt x="57" y="62"/>
                    </a:lnTo>
                    <a:lnTo>
                      <a:pt x="85" y="62"/>
                    </a:lnTo>
                    <a:lnTo>
                      <a:pt x="85" y="58"/>
                    </a:lnTo>
                    <a:lnTo>
                      <a:pt x="85" y="29"/>
                    </a:lnTo>
                    <a:lnTo>
                      <a:pt x="85" y="29"/>
                    </a:lnTo>
                    <a:lnTo>
                      <a:pt x="57" y="29"/>
                    </a:lnTo>
                    <a:lnTo>
                      <a:pt x="57" y="0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Freeform 15"/>
              <p:cNvSpPr/>
              <p:nvPr/>
            </p:nvSpPr>
            <p:spPr bwMode="auto">
              <a:xfrm>
                <a:off x="7255368" y="2789568"/>
                <a:ext cx="1090344" cy="825027"/>
              </a:xfrm>
              <a:custGeom>
                <a:avLst/>
                <a:gdLst>
                  <a:gd name="T0" fmla="*/ 125 w 147"/>
                  <a:gd name="T1" fmla="*/ 0 h 111"/>
                  <a:gd name="T2" fmla="*/ 125 w 147"/>
                  <a:gd name="T3" fmla="*/ 0 h 111"/>
                  <a:gd name="T4" fmla="*/ 7 w 147"/>
                  <a:gd name="T5" fmla="*/ 0 h 111"/>
                  <a:gd name="T6" fmla="*/ 0 w 147"/>
                  <a:gd name="T7" fmla="*/ 1 h 111"/>
                  <a:gd name="T8" fmla="*/ 0 w 147"/>
                  <a:gd name="T9" fmla="*/ 9 h 111"/>
                  <a:gd name="T10" fmla="*/ 7 w 147"/>
                  <a:gd name="T11" fmla="*/ 7 h 111"/>
                  <a:gd name="T12" fmla="*/ 124 w 147"/>
                  <a:gd name="T13" fmla="*/ 7 h 111"/>
                  <a:gd name="T14" fmla="*/ 140 w 147"/>
                  <a:gd name="T15" fmla="*/ 23 h 111"/>
                  <a:gd name="T16" fmla="*/ 140 w 147"/>
                  <a:gd name="T17" fmla="*/ 88 h 111"/>
                  <a:gd name="T18" fmla="*/ 124 w 147"/>
                  <a:gd name="T19" fmla="*/ 103 h 111"/>
                  <a:gd name="T20" fmla="*/ 111 w 147"/>
                  <a:gd name="T21" fmla="*/ 103 h 111"/>
                  <a:gd name="T22" fmla="*/ 111 w 147"/>
                  <a:gd name="T23" fmla="*/ 111 h 111"/>
                  <a:gd name="T24" fmla="*/ 125 w 147"/>
                  <a:gd name="T25" fmla="*/ 111 h 111"/>
                  <a:gd name="T26" fmla="*/ 125 w 147"/>
                  <a:gd name="T27" fmla="*/ 110 h 111"/>
                  <a:gd name="T28" fmla="*/ 147 w 147"/>
                  <a:gd name="T29" fmla="*/ 88 h 111"/>
                  <a:gd name="T30" fmla="*/ 147 w 147"/>
                  <a:gd name="T31" fmla="*/ 23 h 111"/>
                  <a:gd name="T32" fmla="*/ 125 w 147"/>
                  <a:gd name="T3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7" h="111">
                    <a:moveTo>
                      <a:pt x="125" y="0"/>
                    </a:moveTo>
                    <a:cubicBezTo>
                      <a:pt x="125" y="0"/>
                      <a:pt x="125" y="0"/>
                      <a:pt x="125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4" y="0"/>
                      <a:pt x="2" y="1"/>
                      <a:pt x="0" y="1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" y="8"/>
                      <a:pt x="4" y="7"/>
                      <a:pt x="7" y="7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33" y="7"/>
                      <a:pt x="140" y="14"/>
                      <a:pt x="140" y="23"/>
                    </a:cubicBezTo>
                    <a:cubicBezTo>
                      <a:pt x="140" y="88"/>
                      <a:pt x="140" y="88"/>
                      <a:pt x="140" y="88"/>
                    </a:cubicBezTo>
                    <a:cubicBezTo>
                      <a:pt x="140" y="96"/>
                      <a:pt x="133" y="103"/>
                      <a:pt x="124" y="103"/>
                    </a:cubicBezTo>
                    <a:cubicBezTo>
                      <a:pt x="111" y="103"/>
                      <a:pt x="111" y="103"/>
                      <a:pt x="111" y="103"/>
                    </a:cubicBezTo>
                    <a:cubicBezTo>
                      <a:pt x="111" y="111"/>
                      <a:pt x="111" y="111"/>
                      <a:pt x="111" y="111"/>
                    </a:cubicBezTo>
                    <a:cubicBezTo>
                      <a:pt x="125" y="111"/>
                      <a:pt x="125" y="111"/>
                      <a:pt x="125" y="111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37" y="110"/>
                      <a:pt x="147" y="100"/>
                      <a:pt x="147" y="88"/>
                    </a:cubicBezTo>
                    <a:cubicBezTo>
                      <a:pt x="147" y="23"/>
                      <a:pt x="147" y="23"/>
                      <a:pt x="147" y="23"/>
                    </a:cubicBezTo>
                    <a:cubicBezTo>
                      <a:pt x="147" y="11"/>
                      <a:pt x="137" y="1"/>
                      <a:pt x="12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2" name="组合 61"/>
          <p:cNvGrpSpPr/>
          <p:nvPr userDrawn="1"/>
        </p:nvGrpSpPr>
        <p:grpSpPr>
          <a:xfrm>
            <a:off x="756325" y="2112864"/>
            <a:ext cx="1762686" cy="1762683"/>
            <a:chOff x="1507108" y="2100648"/>
            <a:chExt cx="1627763" cy="1627761"/>
          </a:xfrm>
        </p:grpSpPr>
        <p:sp>
          <p:nvSpPr>
            <p:cNvPr id="63" name="矩形 62"/>
            <p:cNvSpPr/>
            <p:nvPr/>
          </p:nvSpPr>
          <p:spPr>
            <a:xfrm>
              <a:off x="1507110" y="2100648"/>
              <a:ext cx="1627761" cy="1627761"/>
            </a:xfrm>
            <a:prstGeom prst="rect">
              <a:avLst/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grpSp>
          <p:nvGrpSpPr>
            <p:cNvPr id="64" name="组合 63"/>
            <p:cNvGrpSpPr/>
            <p:nvPr/>
          </p:nvGrpSpPr>
          <p:grpSpPr>
            <a:xfrm>
              <a:off x="1507108" y="2201164"/>
              <a:ext cx="1384865" cy="1466956"/>
              <a:chOff x="1550988" y="1668463"/>
              <a:chExt cx="615950" cy="652462"/>
            </a:xfrm>
          </p:grpSpPr>
          <p:sp>
            <p:nvSpPr>
              <p:cNvPr id="65" name="Freeform 5"/>
              <p:cNvSpPr/>
              <p:nvPr/>
            </p:nvSpPr>
            <p:spPr bwMode="auto">
              <a:xfrm>
                <a:off x="1550988" y="1962150"/>
                <a:ext cx="585788" cy="358775"/>
              </a:xfrm>
              <a:custGeom>
                <a:avLst/>
                <a:gdLst>
                  <a:gd name="T0" fmla="*/ 62 w 153"/>
                  <a:gd name="T1" fmla="*/ 94 h 94"/>
                  <a:gd name="T2" fmla="*/ 69 w 153"/>
                  <a:gd name="T3" fmla="*/ 91 h 94"/>
                  <a:gd name="T4" fmla="*/ 139 w 153"/>
                  <a:gd name="T5" fmla="*/ 22 h 94"/>
                  <a:gd name="T6" fmla="*/ 153 w 153"/>
                  <a:gd name="T7" fmla="*/ 0 h 94"/>
                  <a:gd name="T8" fmla="*/ 145 w 153"/>
                  <a:gd name="T9" fmla="*/ 0 h 94"/>
                  <a:gd name="T10" fmla="*/ 134 w 153"/>
                  <a:gd name="T11" fmla="*/ 16 h 94"/>
                  <a:gd name="T12" fmla="*/ 64 w 153"/>
                  <a:gd name="T13" fmla="*/ 86 h 94"/>
                  <a:gd name="T14" fmla="*/ 62 w 153"/>
                  <a:gd name="T15" fmla="*/ 87 h 94"/>
                  <a:gd name="T16" fmla="*/ 59 w 153"/>
                  <a:gd name="T17" fmla="*/ 86 h 94"/>
                  <a:gd name="T18" fmla="*/ 0 w 153"/>
                  <a:gd name="T19" fmla="*/ 27 h 94"/>
                  <a:gd name="T20" fmla="*/ 0 w 153"/>
                  <a:gd name="T21" fmla="*/ 36 h 94"/>
                  <a:gd name="T22" fmla="*/ 54 w 153"/>
                  <a:gd name="T23" fmla="*/ 91 h 94"/>
                  <a:gd name="T24" fmla="*/ 62 w 153"/>
                  <a:gd name="T25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3" h="94">
                    <a:moveTo>
                      <a:pt x="62" y="94"/>
                    </a:moveTo>
                    <a:cubicBezTo>
                      <a:pt x="64" y="94"/>
                      <a:pt x="67" y="93"/>
                      <a:pt x="69" y="91"/>
                    </a:cubicBezTo>
                    <a:cubicBezTo>
                      <a:pt x="139" y="22"/>
                      <a:pt x="139" y="22"/>
                      <a:pt x="139" y="22"/>
                    </a:cubicBezTo>
                    <a:cubicBezTo>
                      <a:pt x="145" y="15"/>
                      <a:pt x="150" y="8"/>
                      <a:pt x="153" y="0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42" y="6"/>
                      <a:pt x="139" y="12"/>
                      <a:pt x="134" y="16"/>
                    </a:cubicBezTo>
                    <a:cubicBezTo>
                      <a:pt x="64" y="86"/>
                      <a:pt x="64" y="86"/>
                      <a:pt x="64" y="86"/>
                    </a:cubicBezTo>
                    <a:cubicBezTo>
                      <a:pt x="63" y="87"/>
                      <a:pt x="62" y="87"/>
                      <a:pt x="62" y="87"/>
                    </a:cubicBezTo>
                    <a:cubicBezTo>
                      <a:pt x="61" y="87"/>
                      <a:pt x="60" y="87"/>
                      <a:pt x="59" y="8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54" y="91"/>
                      <a:pt x="54" y="91"/>
                      <a:pt x="54" y="91"/>
                    </a:cubicBezTo>
                    <a:cubicBezTo>
                      <a:pt x="56" y="93"/>
                      <a:pt x="59" y="94"/>
                      <a:pt x="62" y="9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6"/>
              <p:cNvSpPr/>
              <p:nvPr/>
            </p:nvSpPr>
            <p:spPr bwMode="auto">
              <a:xfrm>
                <a:off x="1550988" y="1668463"/>
                <a:ext cx="588963" cy="160337"/>
              </a:xfrm>
              <a:custGeom>
                <a:avLst/>
                <a:gdLst>
                  <a:gd name="T0" fmla="*/ 139 w 154"/>
                  <a:gd name="T1" fmla="*/ 18 h 42"/>
                  <a:gd name="T2" fmla="*/ 114 w 154"/>
                  <a:gd name="T3" fmla="*/ 3 h 42"/>
                  <a:gd name="T4" fmla="*/ 83 w 154"/>
                  <a:gd name="T5" fmla="*/ 3 h 42"/>
                  <a:gd name="T6" fmla="*/ 62 w 154"/>
                  <a:gd name="T7" fmla="*/ 13 h 42"/>
                  <a:gd name="T8" fmla="*/ 40 w 154"/>
                  <a:gd name="T9" fmla="*/ 3 h 42"/>
                  <a:gd name="T10" fmla="*/ 9 w 154"/>
                  <a:gd name="T11" fmla="*/ 3 h 42"/>
                  <a:gd name="T12" fmla="*/ 0 w 154"/>
                  <a:gd name="T13" fmla="*/ 7 h 42"/>
                  <a:gd name="T14" fmla="*/ 0 w 154"/>
                  <a:gd name="T15" fmla="*/ 15 h 42"/>
                  <a:gd name="T16" fmla="*/ 11 w 154"/>
                  <a:gd name="T17" fmla="*/ 10 h 42"/>
                  <a:gd name="T18" fmla="*/ 26 w 154"/>
                  <a:gd name="T19" fmla="*/ 8 h 42"/>
                  <a:gd name="T20" fmla="*/ 38 w 154"/>
                  <a:gd name="T21" fmla="*/ 9 h 42"/>
                  <a:gd name="T22" fmla="*/ 59 w 154"/>
                  <a:gd name="T23" fmla="*/ 21 h 42"/>
                  <a:gd name="T24" fmla="*/ 62 w 154"/>
                  <a:gd name="T25" fmla="*/ 22 h 42"/>
                  <a:gd name="T26" fmla="*/ 64 w 154"/>
                  <a:gd name="T27" fmla="*/ 21 h 42"/>
                  <a:gd name="T28" fmla="*/ 85 w 154"/>
                  <a:gd name="T29" fmla="*/ 9 h 42"/>
                  <a:gd name="T30" fmla="*/ 112 w 154"/>
                  <a:gd name="T31" fmla="*/ 10 h 42"/>
                  <a:gd name="T32" fmla="*/ 134 w 154"/>
                  <a:gd name="T33" fmla="*/ 23 h 42"/>
                  <a:gd name="T34" fmla="*/ 146 w 154"/>
                  <a:gd name="T35" fmla="*/ 42 h 42"/>
                  <a:gd name="T36" fmla="*/ 154 w 154"/>
                  <a:gd name="T37" fmla="*/ 42 h 42"/>
                  <a:gd name="T38" fmla="*/ 153 w 154"/>
                  <a:gd name="T39" fmla="*/ 42 h 42"/>
                  <a:gd name="T40" fmla="*/ 139 w 154"/>
                  <a:gd name="T41" fmla="*/ 18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4" h="42">
                    <a:moveTo>
                      <a:pt x="139" y="18"/>
                    </a:moveTo>
                    <a:cubicBezTo>
                      <a:pt x="132" y="11"/>
                      <a:pt x="123" y="6"/>
                      <a:pt x="114" y="3"/>
                    </a:cubicBezTo>
                    <a:cubicBezTo>
                      <a:pt x="104" y="0"/>
                      <a:pt x="94" y="0"/>
                      <a:pt x="83" y="3"/>
                    </a:cubicBezTo>
                    <a:cubicBezTo>
                      <a:pt x="76" y="5"/>
                      <a:pt x="68" y="8"/>
                      <a:pt x="62" y="13"/>
                    </a:cubicBezTo>
                    <a:cubicBezTo>
                      <a:pt x="55" y="8"/>
                      <a:pt x="48" y="5"/>
                      <a:pt x="40" y="3"/>
                    </a:cubicBezTo>
                    <a:cubicBezTo>
                      <a:pt x="29" y="0"/>
                      <a:pt x="19" y="0"/>
                      <a:pt x="9" y="3"/>
                    </a:cubicBezTo>
                    <a:cubicBezTo>
                      <a:pt x="6" y="4"/>
                      <a:pt x="3" y="6"/>
                      <a:pt x="0" y="7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3"/>
                      <a:pt x="7" y="11"/>
                      <a:pt x="11" y="10"/>
                    </a:cubicBezTo>
                    <a:cubicBezTo>
                      <a:pt x="16" y="9"/>
                      <a:pt x="21" y="8"/>
                      <a:pt x="26" y="8"/>
                    </a:cubicBezTo>
                    <a:cubicBezTo>
                      <a:pt x="30" y="8"/>
                      <a:pt x="34" y="8"/>
                      <a:pt x="38" y="9"/>
                    </a:cubicBezTo>
                    <a:cubicBezTo>
                      <a:pt x="46" y="11"/>
                      <a:pt x="53" y="15"/>
                      <a:pt x="59" y="21"/>
                    </a:cubicBezTo>
                    <a:cubicBezTo>
                      <a:pt x="62" y="22"/>
                      <a:pt x="62" y="22"/>
                      <a:pt x="62" y="22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70" y="15"/>
                      <a:pt x="78" y="11"/>
                      <a:pt x="85" y="9"/>
                    </a:cubicBezTo>
                    <a:cubicBezTo>
                      <a:pt x="94" y="7"/>
                      <a:pt x="103" y="7"/>
                      <a:pt x="112" y="10"/>
                    </a:cubicBezTo>
                    <a:cubicBezTo>
                      <a:pt x="120" y="13"/>
                      <a:pt x="128" y="17"/>
                      <a:pt x="134" y="23"/>
                    </a:cubicBezTo>
                    <a:cubicBezTo>
                      <a:pt x="139" y="28"/>
                      <a:pt x="143" y="35"/>
                      <a:pt x="146" y="42"/>
                    </a:cubicBezTo>
                    <a:cubicBezTo>
                      <a:pt x="154" y="42"/>
                      <a:pt x="154" y="42"/>
                      <a:pt x="154" y="42"/>
                    </a:cubicBezTo>
                    <a:cubicBezTo>
                      <a:pt x="153" y="42"/>
                      <a:pt x="153" y="42"/>
                      <a:pt x="153" y="42"/>
                    </a:cubicBezTo>
                    <a:cubicBezTo>
                      <a:pt x="150" y="33"/>
                      <a:pt x="145" y="25"/>
                      <a:pt x="139" y="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7"/>
              <p:cNvSpPr/>
              <p:nvPr/>
            </p:nvSpPr>
            <p:spPr bwMode="auto">
              <a:xfrm>
                <a:off x="2087563" y="1855788"/>
                <a:ext cx="79375" cy="79375"/>
              </a:xfrm>
              <a:custGeom>
                <a:avLst/>
                <a:gdLst>
                  <a:gd name="T0" fmla="*/ 50 w 50"/>
                  <a:gd name="T1" fmla="*/ 17 h 50"/>
                  <a:gd name="T2" fmla="*/ 33 w 50"/>
                  <a:gd name="T3" fmla="*/ 17 h 50"/>
                  <a:gd name="T4" fmla="*/ 33 w 50"/>
                  <a:gd name="T5" fmla="*/ 0 h 50"/>
                  <a:gd name="T6" fmla="*/ 16 w 50"/>
                  <a:gd name="T7" fmla="*/ 0 h 50"/>
                  <a:gd name="T8" fmla="*/ 16 w 50"/>
                  <a:gd name="T9" fmla="*/ 17 h 50"/>
                  <a:gd name="T10" fmla="*/ 0 w 50"/>
                  <a:gd name="T11" fmla="*/ 17 h 50"/>
                  <a:gd name="T12" fmla="*/ 0 w 50"/>
                  <a:gd name="T13" fmla="*/ 33 h 50"/>
                  <a:gd name="T14" fmla="*/ 16 w 50"/>
                  <a:gd name="T15" fmla="*/ 33 h 50"/>
                  <a:gd name="T16" fmla="*/ 16 w 50"/>
                  <a:gd name="T17" fmla="*/ 50 h 50"/>
                  <a:gd name="T18" fmla="*/ 33 w 50"/>
                  <a:gd name="T19" fmla="*/ 50 h 50"/>
                  <a:gd name="T20" fmla="*/ 33 w 50"/>
                  <a:gd name="T21" fmla="*/ 33 h 50"/>
                  <a:gd name="T22" fmla="*/ 50 w 50"/>
                  <a:gd name="T23" fmla="*/ 33 h 50"/>
                  <a:gd name="T24" fmla="*/ 50 w 50"/>
                  <a:gd name="T25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50">
                    <a:moveTo>
                      <a:pt x="50" y="17"/>
                    </a:moveTo>
                    <a:lnTo>
                      <a:pt x="33" y="17"/>
                    </a:lnTo>
                    <a:lnTo>
                      <a:pt x="33" y="0"/>
                    </a:lnTo>
                    <a:lnTo>
                      <a:pt x="16" y="0"/>
                    </a:lnTo>
                    <a:lnTo>
                      <a:pt x="16" y="17"/>
                    </a:lnTo>
                    <a:lnTo>
                      <a:pt x="0" y="17"/>
                    </a:lnTo>
                    <a:lnTo>
                      <a:pt x="0" y="33"/>
                    </a:lnTo>
                    <a:lnTo>
                      <a:pt x="16" y="33"/>
                    </a:lnTo>
                    <a:lnTo>
                      <a:pt x="16" y="50"/>
                    </a:lnTo>
                    <a:lnTo>
                      <a:pt x="33" y="50"/>
                    </a:lnTo>
                    <a:lnTo>
                      <a:pt x="33" y="33"/>
                    </a:lnTo>
                    <a:lnTo>
                      <a:pt x="50" y="33"/>
                    </a:lnTo>
                    <a:lnTo>
                      <a:pt x="50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8" name="组合 67"/>
          <p:cNvGrpSpPr/>
          <p:nvPr userDrawn="1"/>
        </p:nvGrpSpPr>
        <p:grpSpPr>
          <a:xfrm>
            <a:off x="3540794" y="2112864"/>
            <a:ext cx="1762686" cy="1762683"/>
            <a:chOff x="4146320" y="2100648"/>
            <a:chExt cx="1627764" cy="1627761"/>
          </a:xfrm>
        </p:grpSpPr>
        <p:sp>
          <p:nvSpPr>
            <p:cNvPr id="69" name="矩形 68"/>
            <p:cNvSpPr/>
            <p:nvPr/>
          </p:nvSpPr>
          <p:spPr>
            <a:xfrm>
              <a:off x="4146323" y="2100648"/>
              <a:ext cx="1627761" cy="1627761"/>
            </a:xfrm>
            <a:prstGeom prst="rect">
              <a:avLst/>
            </a:prstGeom>
            <a:solidFill>
              <a:srgbClr val="1737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pic>
          <p:nvPicPr>
            <p:cNvPr id="70" name="图片 6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46320" y="2201164"/>
              <a:ext cx="1472700" cy="1527245"/>
            </a:xfrm>
            <a:prstGeom prst="rect">
              <a:avLst/>
            </a:prstGeom>
          </p:spPr>
        </p:pic>
      </p:grpSp>
      <p:sp>
        <p:nvSpPr>
          <p:cNvPr id="75" name="文本占位符 11"/>
          <p:cNvSpPr>
            <a:spLocks noGrp="1"/>
          </p:cNvSpPr>
          <p:nvPr>
            <p:ph type="body" sz="quarter" idx="16" hasCustomPrompt="1"/>
          </p:nvPr>
        </p:nvSpPr>
        <p:spPr>
          <a:xfrm>
            <a:off x="888171" y="4116313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6" name="文本占位符 11"/>
          <p:cNvSpPr>
            <a:spLocks noGrp="1"/>
          </p:cNvSpPr>
          <p:nvPr>
            <p:ph type="body" sz="quarter" idx="17" hasCustomPrompt="1"/>
          </p:nvPr>
        </p:nvSpPr>
        <p:spPr>
          <a:xfrm>
            <a:off x="3677711" y="4116313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7" name="文本占位符 11"/>
          <p:cNvSpPr>
            <a:spLocks noGrp="1"/>
          </p:cNvSpPr>
          <p:nvPr>
            <p:ph type="body" sz="quarter" idx="18" hasCustomPrompt="1"/>
          </p:nvPr>
        </p:nvSpPr>
        <p:spPr>
          <a:xfrm>
            <a:off x="6453376" y="4116313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8" name="文本占位符 11"/>
          <p:cNvSpPr>
            <a:spLocks noGrp="1"/>
          </p:cNvSpPr>
          <p:nvPr>
            <p:ph type="body" sz="quarter" idx="19" hasCustomPrompt="1"/>
          </p:nvPr>
        </p:nvSpPr>
        <p:spPr>
          <a:xfrm>
            <a:off x="9242916" y="4126576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三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矩形 37"/>
          <p:cNvSpPr/>
          <p:nvPr userDrawn="1"/>
        </p:nvSpPr>
        <p:spPr>
          <a:xfrm>
            <a:off x="5833319" y="4488866"/>
            <a:ext cx="1590584" cy="1596283"/>
          </a:xfrm>
          <a:prstGeom prst="rect">
            <a:avLst/>
          </a:prstGeom>
          <a:solidFill>
            <a:srgbClr val="A1A1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39" name="矩形 38"/>
          <p:cNvSpPr/>
          <p:nvPr userDrawn="1"/>
        </p:nvSpPr>
        <p:spPr>
          <a:xfrm>
            <a:off x="7556186" y="2788373"/>
            <a:ext cx="1593434" cy="1593434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 dirty="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40" name="矩形 39"/>
          <p:cNvSpPr/>
          <p:nvPr userDrawn="1"/>
        </p:nvSpPr>
        <p:spPr>
          <a:xfrm>
            <a:off x="4107600" y="4488866"/>
            <a:ext cx="1593435" cy="1593434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41" name="矩形 40"/>
          <p:cNvSpPr/>
          <p:nvPr userDrawn="1"/>
        </p:nvSpPr>
        <p:spPr>
          <a:xfrm>
            <a:off x="4102487" y="2788373"/>
            <a:ext cx="1593435" cy="1596283"/>
          </a:xfrm>
          <a:prstGeom prst="rect">
            <a:avLst/>
          </a:prstGeom>
          <a:solidFill>
            <a:srgbClr val="A1A1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42" name="矩形 41"/>
          <p:cNvSpPr/>
          <p:nvPr userDrawn="1"/>
        </p:nvSpPr>
        <p:spPr>
          <a:xfrm>
            <a:off x="634711" y="2788373"/>
            <a:ext cx="1618240" cy="1593434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43" name="矩形 42"/>
          <p:cNvSpPr/>
          <p:nvPr userDrawn="1"/>
        </p:nvSpPr>
        <p:spPr>
          <a:xfrm>
            <a:off x="7556186" y="4491718"/>
            <a:ext cx="1593434" cy="1593434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71" name="矩形 70"/>
          <p:cNvSpPr/>
          <p:nvPr userDrawn="1"/>
        </p:nvSpPr>
        <p:spPr>
          <a:xfrm>
            <a:off x="2381002" y="2800168"/>
            <a:ext cx="1593434" cy="1593434"/>
          </a:xfrm>
          <a:prstGeom prst="rect">
            <a:avLst/>
          </a:prstGeom>
          <a:solidFill>
            <a:srgbClr val="629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72" name="矩形 71"/>
          <p:cNvSpPr/>
          <p:nvPr userDrawn="1"/>
        </p:nvSpPr>
        <p:spPr>
          <a:xfrm>
            <a:off x="634711" y="4485035"/>
            <a:ext cx="1604161" cy="1604161"/>
          </a:xfrm>
          <a:prstGeom prst="rect">
            <a:avLst/>
          </a:prstGeom>
          <a:solidFill>
            <a:srgbClr val="629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矩形 72"/>
          <p:cNvSpPr/>
          <p:nvPr userDrawn="1"/>
        </p:nvSpPr>
        <p:spPr>
          <a:xfrm>
            <a:off x="2371156" y="4478138"/>
            <a:ext cx="1604161" cy="1604161"/>
          </a:xfrm>
          <a:prstGeom prst="rect">
            <a:avLst/>
          </a:prstGeom>
          <a:solidFill>
            <a:srgbClr val="17375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矩形 73"/>
          <p:cNvSpPr/>
          <p:nvPr userDrawn="1"/>
        </p:nvSpPr>
        <p:spPr>
          <a:xfrm>
            <a:off x="5823973" y="2788373"/>
            <a:ext cx="1604161" cy="1604161"/>
          </a:xfrm>
          <a:prstGeom prst="rect">
            <a:avLst/>
          </a:prstGeom>
          <a:solidFill>
            <a:srgbClr val="629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矩形 89"/>
          <p:cNvSpPr/>
          <p:nvPr userDrawn="1"/>
        </p:nvSpPr>
        <p:spPr>
          <a:xfrm>
            <a:off x="9264836" y="2800168"/>
            <a:ext cx="1593434" cy="1593434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 dirty="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91" name="矩形 90"/>
          <p:cNvSpPr/>
          <p:nvPr userDrawn="1"/>
        </p:nvSpPr>
        <p:spPr>
          <a:xfrm>
            <a:off x="9264836" y="4503513"/>
            <a:ext cx="1593434" cy="1593434"/>
          </a:xfrm>
          <a:prstGeom prst="rect">
            <a:avLst/>
          </a:prstGeom>
          <a:solidFill>
            <a:srgbClr val="A1A1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9" name="文本占位符 11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8001" y="1116000"/>
            <a:ext cx="10210269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79" name="文本占位符 11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15744" y="2845716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0" name="文本占位符 11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2438294" y="2845716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1" name="文本占位符 1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160844" y="2845716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2" name="文本占位符 11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5883394" y="2845716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3" name="文本占位符 11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7605944" y="2845716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4" name="文本占位符 11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715744" y="4544373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5" name="文本占位符 11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2438294" y="4544373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6" name="文本占位符 11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160844" y="4544373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7" name="文本占位符 11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5883394" y="4544373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8" name="文本占位符 11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7605944" y="4544373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9" name="文本占位符 11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48000" y="1764000"/>
            <a:ext cx="10210270" cy="889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92" name="文本占位符 11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9328492" y="2856562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93" name="文本占位符 11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328492" y="4555219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分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9"/>
          <p:cNvSpPr>
            <a:spLocks noGrp="1"/>
          </p:cNvSpPr>
          <p:nvPr>
            <p:ph type="body" sz="quarter" idx="10" hasCustomPrompt="1"/>
          </p:nvPr>
        </p:nvSpPr>
        <p:spPr>
          <a:xfrm>
            <a:off x="2972329" y="2789784"/>
            <a:ext cx="8305271" cy="127843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600" b="1">
                <a:solidFill>
                  <a:srgbClr val="005BAC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分隔页：</a:t>
            </a:r>
            <a:endParaRPr lang="en-US" altLang="zh-CN" dirty="0"/>
          </a:p>
          <a:p>
            <a:r>
              <a:rPr lang="zh-CN" altLang="en-US" dirty="0"/>
              <a:t>微软雅黑 </a:t>
            </a:r>
            <a:r>
              <a:rPr lang="en-US" altLang="zh-CN" dirty="0"/>
              <a:t>Verdana 36pt </a:t>
            </a:r>
            <a:r>
              <a:rPr lang="zh-CN" altLang="en-US" dirty="0"/>
              <a:t>加粗</a:t>
            </a:r>
          </a:p>
        </p:txBody>
      </p:sp>
      <p:grpSp>
        <p:nvGrpSpPr>
          <p:cNvPr id="4" name="组合 3"/>
          <p:cNvGrpSpPr/>
          <p:nvPr userDrawn="1"/>
        </p:nvGrpSpPr>
        <p:grpSpPr>
          <a:xfrm flipH="1">
            <a:off x="795943" y="1830878"/>
            <a:ext cx="1571106" cy="3196245"/>
            <a:chOff x="795943" y="1234670"/>
            <a:chExt cx="1571106" cy="3196245"/>
          </a:xfrm>
        </p:grpSpPr>
        <p:sp>
          <p:nvSpPr>
            <p:cNvPr id="5" name="单圆角矩形 4"/>
            <p:cNvSpPr/>
            <p:nvPr userDrawn="1"/>
          </p:nvSpPr>
          <p:spPr>
            <a:xfrm flipH="1">
              <a:off x="795943" y="1234670"/>
              <a:ext cx="1571106" cy="1571106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单圆角矩形 5"/>
            <p:cNvSpPr/>
            <p:nvPr userDrawn="1"/>
          </p:nvSpPr>
          <p:spPr>
            <a:xfrm flipH="1" flipV="1">
              <a:off x="795943" y="2859809"/>
              <a:ext cx="1571106" cy="1571106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1764000"/>
            <a:ext cx="10210271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1" name="矩形 10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10427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</a:t>
            </a:r>
            <a:endParaRPr lang="en-US" altLang="zh-CN" dirty="0"/>
          </a:p>
          <a:p>
            <a:r>
              <a:rPr lang="zh-CN" altLang="en-US" dirty="0"/>
              <a:t> 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1764000"/>
            <a:ext cx="10210271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  <a:p>
            <a:pPr lvl="0"/>
            <a:endParaRPr lang="en-US" altLang="zh-CN" dirty="0"/>
          </a:p>
        </p:txBody>
      </p:sp>
      <p:sp>
        <p:nvSpPr>
          <p:cNvPr id="11" name="矩形 10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10427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</a:t>
            </a:r>
            <a:endParaRPr lang="en-US" altLang="zh-CN" dirty="0"/>
          </a:p>
          <a:p>
            <a:r>
              <a:rPr lang="zh-CN" altLang="en-US" dirty="0"/>
              <a:t> 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分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9"/>
          <p:cNvSpPr>
            <a:spLocks noGrp="1"/>
          </p:cNvSpPr>
          <p:nvPr>
            <p:ph type="body" sz="quarter" idx="10" hasCustomPrompt="1"/>
          </p:nvPr>
        </p:nvSpPr>
        <p:spPr>
          <a:xfrm>
            <a:off x="2972329" y="2789784"/>
            <a:ext cx="8305271" cy="127843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600" b="1">
                <a:solidFill>
                  <a:srgbClr val="005BAC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 36pt </a:t>
            </a:r>
            <a:r>
              <a:rPr lang="zh-CN" altLang="en-US" dirty="0"/>
              <a:t>加粗</a:t>
            </a:r>
          </a:p>
        </p:txBody>
      </p:sp>
      <p:grpSp>
        <p:nvGrpSpPr>
          <p:cNvPr id="4" name="组合 3"/>
          <p:cNvGrpSpPr/>
          <p:nvPr userDrawn="1"/>
        </p:nvGrpSpPr>
        <p:grpSpPr>
          <a:xfrm flipH="1">
            <a:off x="795943" y="1830878"/>
            <a:ext cx="1571106" cy="3196245"/>
            <a:chOff x="795943" y="1234670"/>
            <a:chExt cx="1571106" cy="3196245"/>
          </a:xfrm>
        </p:grpSpPr>
        <p:sp>
          <p:nvSpPr>
            <p:cNvPr id="5" name="单圆角矩形 4"/>
            <p:cNvSpPr/>
            <p:nvPr userDrawn="1"/>
          </p:nvSpPr>
          <p:spPr>
            <a:xfrm flipH="1">
              <a:off x="795943" y="1234670"/>
              <a:ext cx="1571106" cy="1571106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单圆角矩形 5"/>
            <p:cNvSpPr/>
            <p:nvPr userDrawn="1"/>
          </p:nvSpPr>
          <p:spPr>
            <a:xfrm flipH="1" flipV="1">
              <a:off x="795943" y="2859809"/>
              <a:ext cx="1571106" cy="1571106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正文页 两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矩形 12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1" y="1764000"/>
            <a:ext cx="4823886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16" hasCustomPrompt="1"/>
          </p:nvPr>
        </p:nvSpPr>
        <p:spPr>
          <a:xfrm>
            <a:off x="5894385" y="1764000"/>
            <a:ext cx="4963886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10427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</a:t>
            </a:r>
            <a:endParaRPr lang="en-US" altLang="zh-CN" dirty="0"/>
          </a:p>
          <a:p>
            <a:r>
              <a:rPr lang="zh-CN" altLang="en-US" dirty="0"/>
              <a:t> 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三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5" name="组合 44"/>
          <p:cNvGrpSpPr/>
          <p:nvPr userDrawn="1"/>
        </p:nvGrpSpPr>
        <p:grpSpPr>
          <a:xfrm>
            <a:off x="9109729" y="2805322"/>
            <a:ext cx="1762683" cy="1762683"/>
            <a:chOff x="5074007" y="2605210"/>
            <a:chExt cx="1376915" cy="1376915"/>
          </a:xfrm>
        </p:grpSpPr>
        <p:sp>
          <p:nvSpPr>
            <p:cNvPr id="46" name="矩形 45"/>
            <p:cNvSpPr/>
            <p:nvPr/>
          </p:nvSpPr>
          <p:spPr>
            <a:xfrm>
              <a:off x="5074007" y="2605210"/>
              <a:ext cx="1376915" cy="1376915"/>
            </a:xfrm>
            <a:prstGeom prst="rect">
              <a:avLst/>
            </a:prstGeom>
            <a:solidFill>
              <a:srgbClr val="629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sp>
          <p:nvSpPr>
            <p:cNvPr id="47" name="Freeform 19"/>
            <p:cNvSpPr/>
            <p:nvPr/>
          </p:nvSpPr>
          <p:spPr bwMode="auto">
            <a:xfrm>
              <a:off x="6145159" y="3078509"/>
              <a:ext cx="150832" cy="145379"/>
            </a:xfrm>
            <a:custGeom>
              <a:avLst/>
              <a:gdLst>
                <a:gd name="T0" fmla="*/ 83 w 83"/>
                <a:gd name="T1" fmla="*/ 26 h 80"/>
                <a:gd name="T2" fmla="*/ 57 w 83"/>
                <a:gd name="T3" fmla="*/ 26 h 80"/>
                <a:gd name="T4" fmla="*/ 57 w 83"/>
                <a:gd name="T5" fmla="*/ 0 h 80"/>
                <a:gd name="T6" fmla="*/ 29 w 83"/>
                <a:gd name="T7" fmla="*/ 0 h 80"/>
                <a:gd name="T8" fmla="*/ 29 w 83"/>
                <a:gd name="T9" fmla="*/ 26 h 80"/>
                <a:gd name="T10" fmla="*/ 0 w 83"/>
                <a:gd name="T11" fmla="*/ 26 h 80"/>
                <a:gd name="T12" fmla="*/ 0 w 83"/>
                <a:gd name="T13" fmla="*/ 54 h 80"/>
                <a:gd name="T14" fmla="*/ 29 w 83"/>
                <a:gd name="T15" fmla="*/ 54 h 80"/>
                <a:gd name="T16" fmla="*/ 29 w 83"/>
                <a:gd name="T17" fmla="*/ 80 h 80"/>
                <a:gd name="T18" fmla="*/ 57 w 83"/>
                <a:gd name="T19" fmla="*/ 80 h 80"/>
                <a:gd name="T20" fmla="*/ 57 w 83"/>
                <a:gd name="T21" fmla="*/ 54 h 80"/>
                <a:gd name="T22" fmla="*/ 83 w 83"/>
                <a:gd name="T23" fmla="*/ 54 h 80"/>
                <a:gd name="T24" fmla="*/ 83 w 83"/>
                <a:gd name="T25" fmla="*/ 2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80">
                  <a:moveTo>
                    <a:pt x="83" y="26"/>
                  </a:moveTo>
                  <a:lnTo>
                    <a:pt x="57" y="26"/>
                  </a:lnTo>
                  <a:lnTo>
                    <a:pt x="57" y="0"/>
                  </a:lnTo>
                  <a:lnTo>
                    <a:pt x="29" y="0"/>
                  </a:lnTo>
                  <a:lnTo>
                    <a:pt x="29" y="26"/>
                  </a:lnTo>
                  <a:lnTo>
                    <a:pt x="0" y="26"/>
                  </a:lnTo>
                  <a:lnTo>
                    <a:pt x="0" y="54"/>
                  </a:lnTo>
                  <a:lnTo>
                    <a:pt x="29" y="54"/>
                  </a:lnTo>
                  <a:lnTo>
                    <a:pt x="29" y="80"/>
                  </a:lnTo>
                  <a:lnTo>
                    <a:pt x="57" y="80"/>
                  </a:lnTo>
                  <a:lnTo>
                    <a:pt x="57" y="54"/>
                  </a:lnTo>
                  <a:lnTo>
                    <a:pt x="83" y="54"/>
                  </a:lnTo>
                  <a:lnTo>
                    <a:pt x="83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48" name="Freeform 20"/>
            <p:cNvSpPr/>
            <p:nvPr/>
          </p:nvSpPr>
          <p:spPr bwMode="auto">
            <a:xfrm>
              <a:off x="6099726" y="3274770"/>
              <a:ext cx="143562" cy="243510"/>
            </a:xfrm>
            <a:custGeom>
              <a:avLst/>
              <a:gdLst>
                <a:gd name="T0" fmla="*/ 17 w 25"/>
                <a:gd name="T1" fmla="*/ 25 h 42"/>
                <a:gd name="T2" fmla="*/ 8 w 25"/>
                <a:gd name="T3" fmla="*/ 34 h 42"/>
                <a:gd name="T4" fmla="*/ 5 w 25"/>
                <a:gd name="T5" fmla="*/ 34 h 42"/>
                <a:gd name="T6" fmla="*/ 0 w 25"/>
                <a:gd name="T7" fmla="*/ 38 h 42"/>
                <a:gd name="T8" fmla="*/ 5 w 25"/>
                <a:gd name="T9" fmla="*/ 42 h 42"/>
                <a:gd name="T10" fmla="*/ 8 w 25"/>
                <a:gd name="T11" fmla="*/ 42 h 42"/>
                <a:gd name="T12" fmla="*/ 25 w 25"/>
                <a:gd name="T13" fmla="*/ 25 h 42"/>
                <a:gd name="T14" fmla="*/ 25 w 25"/>
                <a:gd name="T15" fmla="*/ 0 h 42"/>
                <a:gd name="T16" fmla="*/ 17 w 25"/>
                <a:gd name="T17" fmla="*/ 0 h 42"/>
                <a:gd name="T18" fmla="*/ 17 w 25"/>
                <a:gd name="T19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42">
                  <a:moveTo>
                    <a:pt x="17" y="25"/>
                  </a:moveTo>
                  <a:cubicBezTo>
                    <a:pt x="17" y="30"/>
                    <a:pt x="13" y="34"/>
                    <a:pt x="8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2" y="34"/>
                    <a:pt x="0" y="36"/>
                    <a:pt x="0" y="38"/>
                  </a:cubicBezTo>
                  <a:cubicBezTo>
                    <a:pt x="0" y="41"/>
                    <a:pt x="2" y="42"/>
                    <a:pt x="5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18" y="42"/>
                    <a:pt x="25" y="35"/>
                    <a:pt x="25" y="25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7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49" name="Freeform 21"/>
            <p:cNvSpPr/>
            <p:nvPr/>
          </p:nvSpPr>
          <p:spPr bwMode="auto">
            <a:xfrm>
              <a:off x="5076621" y="2847719"/>
              <a:ext cx="1166668" cy="179908"/>
            </a:xfrm>
            <a:custGeom>
              <a:avLst/>
              <a:gdLst>
                <a:gd name="T0" fmla="*/ 186 w 203"/>
                <a:gd name="T1" fmla="*/ 0 h 31"/>
                <a:gd name="T2" fmla="*/ 0 w 203"/>
                <a:gd name="T3" fmla="*/ 0 h 31"/>
                <a:gd name="T4" fmla="*/ 0 w 203"/>
                <a:gd name="T5" fmla="*/ 9 h 31"/>
                <a:gd name="T6" fmla="*/ 186 w 203"/>
                <a:gd name="T7" fmla="*/ 9 h 31"/>
                <a:gd name="T8" fmla="*/ 195 w 203"/>
                <a:gd name="T9" fmla="*/ 17 h 31"/>
                <a:gd name="T10" fmla="*/ 195 w 203"/>
                <a:gd name="T11" fmla="*/ 31 h 31"/>
                <a:gd name="T12" fmla="*/ 203 w 203"/>
                <a:gd name="T13" fmla="*/ 31 h 31"/>
                <a:gd name="T14" fmla="*/ 203 w 203"/>
                <a:gd name="T15" fmla="*/ 17 h 31"/>
                <a:gd name="T16" fmla="*/ 186 w 203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31">
                  <a:moveTo>
                    <a:pt x="1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91" y="9"/>
                    <a:pt x="195" y="13"/>
                    <a:pt x="195" y="17"/>
                  </a:cubicBezTo>
                  <a:cubicBezTo>
                    <a:pt x="195" y="31"/>
                    <a:pt x="195" y="31"/>
                    <a:pt x="195" y="31"/>
                  </a:cubicBezTo>
                  <a:cubicBezTo>
                    <a:pt x="203" y="31"/>
                    <a:pt x="203" y="31"/>
                    <a:pt x="203" y="31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203" y="8"/>
                    <a:pt x="196" y="0"/>
                    <a:pt x="18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0" name="Freeform 22"/>
            <p:cNvSpPr>
              <a:spLocks noEditPoints="1"/>
            </p:cNvSpPr>
            <p:nvPr/>
          </p:nvSpPr>
          <p:spPr bwMode="auto">
            <a:xfrm>
              <a:off x="5278335" y="3580066"/>
              <a:ext cx="648756" cy="278039"/>
            </a:xfrm>
            <a:custGeom>
              <a:avLst/>
              <a:gdLst>
                <a:gd name="T0" fmla="*/ 113 w 113"/>
                <a:gd name="T1" fmla="*/ 31 h 48"/>
                <a:gd name="T2" fmla="*/ 95 w 113"/>
                <a:gd name="T3" fmla="*/ 12 h 48"/>
                <a:gd name="T4" fmla="*/ 70 w 113"/>
                <a:gd name="T5" fmla="*/ 2 h 48"/>
                <a:gd name="T6" fmla="*/ 55 w 113"/>
                <a:gd name="T7" fmla="*/ 0 h 48"/>
                <a:gd name="T8" fmla="*/ 42 w 113"/>
                <a:gd name="T9" fmla="*/ 2 h 48"/>
                <a:gd name="T10" fmla="*/ 18 w 113"/>
                <a:gd name="T11" fmla="*/ 12 h 48"/>
                <a:gd name="T12" fmla="*/ 0 w 113"/>
                <a:gd name="T13" fmla="*/ 31 h 48"/>
                <a:gd name="T14" fmla="*/ 1 w 113"/>
                <a:gd name="T15" fmla="*/ 34 h 48"/>
                <a:gd name="T16" fmla="*/ 58 w 113"/>
                <a:gd name="T17" fmla="*/ 48 h 48"/>
                <a:gd name="T18" fmla="*/ 110 w 113"/>
                <a:gd name="T19" fmla="*/ 38 h 48"/>
                <a:gd name="T20" fmla="*/ 113 w 113"/>
                <a:gd name="T21" fmla="*/ 32 h 48"/>
                <a:gd name="T22" fmla="*/ 113 w 113"/>
                <a:gd name="T23" fmla="*/ 31 h 48"/>
                <a:gd name="T24" fmla="*/ 58 w 113"/>
                <a:gd name="T25" fmla="*/ 40 h 48"/>
                <a:gd name="T26" fmla="*/ 9 w 113"/>
                <a:gd name="T27" fmla="*/ 31 h 48"/>
                <a:gd name="T28" fmla="*/ 22 w 113"/>
                <a:gd name="T29" fmla="*/ 19 h 48"/>
                <a:gd name="T30" fmla="*/ 44 w 113"/>
                <a:gd name="T31" fmla="*/ 10 h 48"/>
                <a:gd name="T32" fmla="*/ 45 w 113"/>
                <a:gd name="T33" fmla="*/ 10 h 48"/>
                <a:gd name="T34" fmla="*/ 55 w 113"/>
                <a:gd name="T35" fmla="*/ 9 h 48"/>
                <a:gd name="T36" fmla="*/ 69 w 113"/>
                <a:gd name="T37" fmla="*/ 10 h 48"/>
                <a:gd name="T38" fmla="*/ 90 w 113"/>
                <a:gd name="T39" fmla="*/ 19 h 48"/>
                <a:gd name="T40" fmla="*/ 104 w 113"/>
                <a:gd name="T41" fmla="*/ 32 h 48"/>
                <a:gd name="T42" fmla="*/ 58 w 113"/>
                <a:gd name="T43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3" h="48">
                  <a:moveTo>
                    <a:pt x="113" y="31"/>
                  </a:moveTo>
                  <a:cubicBezTo>
                    <a:pt x="111" y="24"/>
                    <a:pt x="105" y="18"/>
                    <a:pt x="95" y="12"/>
                  </a:cubicBezTo>
                  <a:cubicBezTo>
                    <a:pt x="86" y="6"/>
                    <a:pt x="75" y="3"/>
                    <a:pt x="70" y="2"/>
                  </a:cubicBezTo>
                  <a:cubicBezTo>
                    <a:pt x="65" y="1"/>
                    <a:pt x="60" y="0"/>
                    <a:pt x="55" y="0"/>
                  </a:cubicBezTo>
                  <a:cubicBezTo>
                    <a:pt x="48" y="0"/>
                    <a:pt x="43" y="1"/>
                    <a:pt x="42" y="2"/>
                  </a:cubicBezTo>
                  <a:cubicBezTo>
                    <a:pt x="37" y="3"/>
                    <a:pt x="27" y="7"/>
                    <a:pt x="18" y="12"/>
                  </a:cubicBezTo>
                  <a:cubicBezTo>
                    <a:pt x="8" y="18"/>
                    <a:pt x="2" y="24"/>
                    <a:pt x="0" y="31"/>
                  </a:cubicBezTo>
                  <a:cubicBezTo>
                    <a:pt x="0" y="32"/>
                    <a:pt x="0" y="33"/>
                    <a:pt x="1" y="34"/>
                  </a:cubicBezTo>
                  <a:cubicBezTo>
                    <a:pt x="2" y="36"/>
                    <a:pt x="10" y="48"/>
                    <a:pt x="58" y="48"/>
                  </a:cubicBezTo>
                  <a:cubicBezTo>
                    <a:pt x="86" y="48"/>
                    <a:pt x="104" y="45"/>
                    <a:pt x="110" y="38"/>
                  </a:cubicBezTo>
                  <a:cubicBezTo>
                    <a:pt x="113" y="35"/>
                    <a:pt x="113" y="32"/>
                    <a:pt x="113" y="32"/>
                  </a:cubicBezTo>
                  <a:cubicBezTo>
                    <a:pt x="113" y="31"/>
                    <a:pt x="113" y="31"/>
                    <a:pt x="113" y="31"/>
                  </a:cubicBezTo>
                  <a:close/>
                  <a:moveTo>
                    <a:pt x="58" y="40"/>
                  </a:moveTo>
                  <a:cubicBezTo>
                    <a:pt x="24" y="40"/>
                    <a:pt x="13" y="34"/>
                    <a:pt x="9" y="31"/>
                  </a:cubicBezTo>
                  <a:cubicBezTo>
                    <a:pt x="11" y="28"/>
                    <a:pt x="14" y="24"/>
                    <a:pt x="22" y="19"/>
                  </a:cubicBezTo>
                  <a:cubicBezTo>
                    <a:pt x="31" y="14"/>
                    <a:pt x="41" y="10"/>
                    <a:pt x="44" y="10"/>
                  </a:cubicBezTo>
                  <a:cubicBezTo>
                    <a:pt x="44" y="10"/>
                    <a:pt x="44" y="10"/>
                    <a:pt x="45" y="10"/>
                  </a:cubicBezTo>
                  <a:cubicBezTo>
                    <a:pt x="45" y="10"/>
                    <a:pt x="48" y="9"/>
                    <a:pt x="55" y="9"/>
                  </a:cubicBezTo>
                  <a:cubicBezTo>
                    <a:pt x="59" y="9"/>
                    <a:pt x="64" y="9"/>
                    <a:pt x="69" y="10"/>
                  </a:cubicBezTo>
                  <a:cubicBezTo>
                    <a:pt x="72" y="11"/>
                    <a:pt x="82" y="14"/>
                    <a:pt x="90" y="19"/>
                  </a:cubicBezTo>
                  <a:cubicBezTo>
                    <a:pt x="99" y="25"/>
                    <a:pt x="103" y="29"/>
                    <a:pt x="104" y="32"/>
                  </a:cubicBezTo>
                  <a:cubicBezTo>
                    <a:pt x="102" y="34"/>
                    <a:pt x="94" y="40"/>
                    <a:pt x="58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1" name="Freeform 23"/>
            <p:cNvSpPr>
              <a:spLocks noEditPoints="1"/>
            </p:cNvSpPr>
            <p:nvPr/>
          </p:nvSpPr>
          <p:spPr bwMode="auto">
            <a:xfrm>
              <a:off x="5450971" y="3263867"/>
              <a:ext cx="298027" cy="305295"/>
            </a:xfrm>
            <a:custGeom>
              <a:avLst/>
              <a:gdLst>
                <a:gd name="T0" fmla="*/ 0 w 52"/>
                <a:gd name="T1" fmla="*/ 26 h 53"/>
                <a:gd name="T2" fmla="*/ 26 w 52"/>
                <a:gd name="T3" fmla="*/ 53 h 53"/>
                <a:gd name="T4" fmla="*/ 52 w 52"/>
                <a:gd name="T5" fmla="*/ 26 h 53"/>
                <a:gd name="T6" fmla="*/ 26 w 52"/>
                <a:gd name="T7" fmla="*/ 0 h 53"/>
                <a:gd name="T8" fmla="*/ 0 w 52"/>
                <a:gd name="T9" fmla="*/ 26 h 53"/>
                <a:gd name="T10" fmla="*/ 26 w 52"/>
                <a:gd name="T11" fmla="*/ 9 h 53"/>
                <a:gd name="T12" fmla="*/ 44 w 52"/>
                <a:gd name="T13" fmla="*/ 26 h 53"/>
                <a:gd name="T14" fmla="*/ 26 w 52"/>
                <a:gd name="T15" fmla="*/ 44 h 53"/>
                <a:gd name="T16" fmla="*/ 9 w 52"/>
                <a:gd name="T17" fmla="*/ 26 h 53"/>
                <a:gd name="T18" fmla="*/ 26 w 52"/>
                <a:gd name="T19" fmla="*/ 9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3">
                  <a:moveTo>
                    <a:pt x="0" y="26"/>
                  </a:moveTo>
                  <a:cubicBezTo>
                    <a:pt x="0" y="41"/>
                    <a:pt x="12" y="53"/>
                    <a:pt x="26" y="53"/>
                  </a:cubicBezTo>
                  <a:cubicBezTo>
                    <a:pt x="41" y="53"/>
                    <a:pt x="52" y="41"/>
                    <a:pt x="52" y="26"/>
                  </a:cubicBezTo>
                  <a:cubicBezTo>
                    <a:pt x="52" y="12"/>
                    <a:pt x="41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lose/>
                  <a:moveTo>
                    <a:pt x="26" y="9"/>
                  </a:moveTo>
                  <a:cubicBezTo>
                    <a:pt x="36" y="9"/>
                    <a:pt x="44" y="17"/>
                    <a:pt x="44" y="26"/>
                  </a:cubicBezTo>
                  <a:cubicBezTo>
                    <a:pt x="44" y="36"/>
                    <a:pt x="36" y="44"/>
                    <a:pt x="26" y="44"/>
                  </a:cubicBezTo>
                  <a:cubicBezTo>
                    <a:pt x="17" y="44"/>
                    <a:pt x="9" y="36"/>
                    <a:pt x="9" y="26"/>
                  </a:cubicBezTo>
                  <a:cubicBezTo>
                    <a:pt x="9" y="17"/>
                    <a:pt x="17" y="9"/>
                    <a:pt x="26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2" name="Freeform 24"/>
            <p:cNvSpPr>
              <a:spLocks noEditPoints="1"/>
            </p:cNvSpPr>
            <p:nvPr/>
          </p:nvSpPr>
          <p:spPr bwMode="auto">
            <a:xfrm>
              <a:off x="5076621" y="3229341"/>
              <a:ext cx="408879" cy="461578"/>
            </a:xfrm>
            <a:custGeom>
              <a:avLst/>
              <a:gdLst>
                <a:gd name="T0" fmla="*/ 69 w 71"/>
                <a:gd name="T1" fmla="*/ 53 h 80"/>
                <a:gd name="T2" fmla="*/ 46 w 71"/>
                <a:gd name="T3" fmla="*/ 43 h 80"/>
                <a:gd name="T4" fmla="*/ 38 w 71"/>
                <a:gd name="T5" fmla="*/ 42 h 80"/>
                <a:gd name="T6" fmla="*/ 56 w 71"/>
                <a:gd name="T7" fmla="*/ 21 h 80"/>
                <a:gd name="T8" fmla="*/ 36 w 71"/>
                <a:gd name="T9" fmla="*/ 0 h 80"/>
                <a:gd name="T10" fmla="*/ 15 w 71"/>
                <a:gd name="T11" fmla="*/ 21 h 80"/>
                <a:gd name="T12" fmla="*/ 33 w 71"/>
                <a:gd name="T13" fmla="*/ 42 h 80"/>
                <a:gd name="T14" fmla="*/ 25 w 71"/>
                <a:gd name="T15" fmla="*/ 43 h 80"/>
                <a:gd name="T16" fmla="*/ 6 w 71"/>
                <a:gd name="T17" fmla="*/ 51 h 80"/>
                <a:gd name="T18" fmla="*/ 0 w 71"/>
                <a:gd name="T19" fmla="*/ 55 h 80"/>
                <a:gd name="T20" fmla="*/ 0 w 71"/>
                <a:gd name="T21" fmla="*/ 74 h 80"/>
                <a:gd name="T22" fmla="*/ 38 w 71"/>
                <a:gd name="T23" fmla="*/ 80 h 80"/>
                <a:gd name="T24" fmla="*/ 42 w 71"/>
                <a:gd name="T25" fmla="*/ 76 h 80"/>
                <a:gd name="T26" fmla="*/ 38 w 71"/>
                <a:gd name="T27" fmla="*/ 71 h 80"/>
                <a:gd name="T28" fmla="*/ 2 w 71"/>
                <a:gd name="T29" fmla="*/ 66 h 80"/>
                <a:gd name="T30" fmla="*/ 11 w 71"/>
                <a:gd name="T31" fmla="*/ 58 h 80"/>
                <a:gd name="T32" fmla="*/ 26 w 71"/>
                <a:gd name="T33" fmla="*/ 51 h 80"/>
                <a:gd name="T34" fmla="*/ 27 w 71"/>
                <a:gd name="T35" fmla="*/ 51 h 80"/>
                <a:gd name="T36" fmla="*/ 45 w 71"/>
                <a:gd name="T37" fmla="*/ 51 h 80"/>
                <a:gd name="T38" fmla="*/ 64 w 71"/>
                <a:gd name="T39" fmla="*/ 60 h 80"/>
                <a:gd name="T40" fmla="*/ 70 w 71"/>
                <a:gd name="T41" fmla="*/ 59 h 80"/>
                <a:gd name="T42" fmla="*/ 69 w 71"/>
                <a:gd name="T43" fmla="*/ 53 h 80"/>
                <a:gd name="T44" fmla="*/ 23 w 71"/>
                <a:gd name="T45" fmla="*/ 21 h 80"/>
                <a:gd name="T46" fmla="*/ 36 w 71"/>
                <a:gd name="T47" fmla="*/ 9 h 80"/>
                <a:gd name="T48" fmla="*/ 48 w 71"/>
                <a:gd name="T49" fmla="*/ 21 h 80"/>
                <a:gd name="T50" fmla="*/ 36 w 71"/>
                <a:gd name="T51" fmla="*/ 33 h 80"/>
                <a:gd name="T52" fmla="*/ 23 w 71"/>
                <a:gd name="T53" fmla="*/ 2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" h="80">
                  <a:moveTo>
                    <a:pt x="69" y="53"/>
                  </a:moveTo>
                  <a:cubicBezTo>
                    <a:pt x="61" y="48"/>
                    <a:pt x="50" y="43"/>
                    <a:pt x="46" y="43"/>
                  </a:cubicBezTo>
                  <a:cubicBezTo>
                    <a:pt x="43" y="42"/>
                    <a:pt x="40" y="42"/>
                    <a:pt x="38" y="42"/>
                  </a:cubicBezTo>
                  <a:cubicBezTo>
                    <a:pt x="48" y="41"/>
                    <a:pt x="56" y="32"/>
                    <a:pt x="56" y="21"/>
                  </a:cubicBezTo>
                  <a:cubicBezTo>
                    <a:pt x="56" y="10"/>
                    <a:pt x="47" y="0"/>
                    <a:pt x="36" y="0"/>
                  </a:cubicBezTo>
                  <a:cubicBezTo>
                    <a:pt x="24" y="0"/>
                    <a:pt x="15" y="10"/>
                    <a:pt x="15" y="21"/>
                  </a:cubicBezTo>
                  <a:cubicBezTo>
                    <a:pt x="15" y="32"/>
                    <a:pt x="23" y="40"/>
                    <a:pt x="33" y="42"/>
                  </a:cubicBezTo>
                  <a:cubicBezTo>
                    <a:pt x="29" y="42"/>
                    <a:pt x="26" y="42"/>
                    <a:pt x="25" y="43"/>
                  </a:cubicBezTo>
                  <a:cubicBezTo>
                    <a:pt x="21" y="43"/>
                    <a:pt x="13" y="47"/>
                    <a:pt x="6" y="51"/>
                  </a:cubicBezTo>
                  <a:cubicBezTo>
                    <a:pt x="4" y="52"/>
                    <a:pt x="1" y="54"/>
                    <a:pt x="0" y="5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6" y="77"/>
                    <a:pt x="17" y="80"/>
                    <a:pt x="38" y="80"/>
                  </a:cubicBezTo>
                  <a:cubicBezTo>
                    <a:pt x="40" y="80"/>
                    <a:pt x="42" y="78"/>
                    <a:pt x="42" y="76"/>
                  </a:cubicBezTo>
                  <a:cubicBezTo>
                    <a:pt x="42" y="73"/>
                    <a:pt x="40" y="71"/>
                    <a:pt x="38" y="71"/>
                  </a:cubicBezTo>
                  <a:cubicBezTo>
                    <a:pt x="14" y="71"/>
                    <a:pt x="5" y="68"/>
                    <a:pt x="2" y="66"/>
                  </a:cubicBezTo>
                  <a:cubicBezTo>
                    <a:pt x="3" y="64"/>
                    <a:pt x="5" y="61"/>
                    <a:pt x="11" y="58"/>
                  </a:cubicBezTo>
                  <a:cubicBezTo>
                    <a:pt x="17" y="54"/>
                    <a:pt x="24" y="51"/>
                    <a:pt x="26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7" y="51"/>
                    <a:pt x="33" y="49"/>
                    <a:pt x="45" y="51"/>
                  </a:cubicBezTo>
                  <a:cubicBezTo>
                    <a:pt x="47" y="51"/>
                    <a:pt x="57" y="55"/>
                    <a:pt x="64" y="60"/>
                  </a:cubicBezTo>
                  <a:cubicBezTo>
                    <a:pt x="66" y="61"/>
                    <a:pt x="69" y="61"/>
                    <a:pt x="70" y="59"/>
                  </a:cubicBezTo>
                  <a:cubicBezTo>
                    <a:pt x="71" y="57"/>
                    <a:pt x="71" y="54"/>
                    <a:pt x="69" y="53"/>
                  </a:cubicBezTo>
                  <a:close/>
                  <a:moveTo>
                    <a:pt x="23" y="21"/>
                  </a:moveTo>
                  <a:cubicBezTo>
                    <a:pt x="23" y="14"/>
                    <a:pt x="29" y="9"/>
                    <a:pt x="36" y="9"/>
                  </a:cubicBezTo>
                  <a:cubicBezTo>
                    <a:pt x="42" y="9"/>
                    <a:pt x="48" y="14"/>
                    <a:pt x="48" y="21"/>
                  </a:cubicBezTo>
                  <a:cubicBezTo>
                    <a:pt x="48" y="28"/>
                    <a:pt x="42" y="33"/>
                    <a:pt x="36" y="33"/>
                  </a:cubicBezTo>
                  <a:cubicBezTo>
                    <a:pt x="29" y="33"/>
                    <a:pt x="23" y="28"/>
                    <a:pt x="23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3" name="Freeform 25"/>
            <p:cNvSpPr>
              <a:spLocks noEditPoints="1"/>
            </p:cNvSpPr>
            <p:nvPr/>
          </p:nvSpPr>
          <p:spPr bwMode="auto">
            <a:xfrm>
              <a:off x="5738096" y="3229341"/>
              <a:ext cx="425234" cy="461578"/>
            </a:xfrm>
            <a:custGeom>
              <a:avLst/>
              <a:gdLst>
                <a:gd name="T0" fmla="*/ 60 w 74"/>
                <a:gd name="T1" fmla="*/ 51 h 80"/>
                <a:gd name="T2" fmla="*/ 42 w 74"/>
                <a:gd name="T3" fmla="*/ 43 h 80"/>
                <a:gd name="T4" fmla="*/ 33 w 74"/>
                <a:gd name="T5" fmla="*/ 42 h 80"/>
                <a:gd name="T6" fmla="*/ 51 w 74"/>
                <a:gd name="T7" fmla="*/ 21 h 80"/>
                <a:gd name="T8" fmla="*/ 31 w 74"/>
                <a:gd name="T9" fmla="*/ 0 h 80"/>
                <a:gd name="T10" fmla="*/ 10 w 74"/>
                <a:gd name="T11" fmla="*/ 21 h 80"/>
                <a:gd name="T12" fmla="*/ 28 w 74"/>
                <a:gd name="T13" fmla="*/ 42 h 80"/>
                <a:gd name="T14" fmla="*/ 20 w 74"/>
                <a:gd name="T15" fmla="*/ 43 h 80"/>
                <a:gd name="T16" fmla="*/ 2 w 74"/>
                <a:gd name="T17" fmla="*/ 50 h 80"/>
                <a:gd name="T18" fmla="*/ 1 w 74"/>
                <a:gd name="T19" fmla="*/ 56 h 80"/>
                <a:gd name="T20" fmla="*/ 7 w 74"/>
                <a:gd name="T21" fmla="*/ 57 h 80"/>
                <a:gd name="T22" fmla="*/ 21 w 74"/>
                <a:gd name="T23" fmla="*/ 51 h 80"/>
                <a:gd name="T24" fmla="*/ 39 w 74"/>
                <a:gd name="T25" fmla="*/ 51 h 80"/>
                <a:gd name="T26" fmla="*/ 40 w 74"/>
                <a:gd name="T27" fmla="*/ 51 h 80"/>
                <a:gd name="T28" fmla="*/ 56 w 74"/>
                <a:gd name="T29" fmla="*/ 58 h 80"/>
                <a:gd name="T30" fmla="*/ 65 w 74"/>
                <a:gd name="T31" fmla="*/ 66 h 80"/>
                <a:gd name="T32" fmla="*/ 35 w 74"/>
                <a:gd name="T33" fmla="*/ 71 h 80"/>
                <a:gd name="T34" fmla="*/ 31 w 74"/>
                <a:gd name="T35" fmla="*/ 76 h 80"/>
                <a:gd name="T36" fmla="*/ 35 w 74"/>
                <a:gd name="T37" fmla="*/ 80 h 80"/>
                <a:gd name="T38" fmla="*/ 35 w 74"/>
                <a:gd name="T39" fmla="*/ 80 h 80"/>
                <a:gd name="T40" fmla="*/ 74 w 74"/>
                <a:gd name="T41" fmla="*/ 68 h 80"/>
                <a:gd name="T42" fmla="*/ 74 w 74"/>
                <a:gd name="T43" fmla="*/ 65 h 80"/>
                <a:gd name="T44" fmla="*/ 60 w 74"/>
                <a:gd name="T45" fmla="*/ 51 h 80"/>
                <a:gd name="T46" fmla="*/ 18 w 74"/>
                <a:gd name="T47" fmla="*/ 21 h 80"/>
                <a:gd name="T48" fmla="*/ 31 w 74"/>
                <a:gd name="T49" fmla="*/ 9 h 80"/>
                <a:gd name="T50" fmla="*/ 43 w 74"/>
                <a:gd name="T51" fmla="*/ 21 h 80"/>
                <a:gd name="T52" fmla="*/ 31 w 74"/>
                <a:gd name="T53" fmla="*/ 33 h 80"/>
                <a:gd name="T54" fmla="*/ 18 w 74"/>
                <a:gd name="T55" fmla="*/ 2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4" h="80">
                  <a:moveTo>
                    <a:pt x="60" y="51"/>
                  </a:moveTo>
                  <a:cubicBezTo>
                    <a:pt x="53" y="47"/>
                    <a:pt x="45" y="43"/>
                    <a:pt x="42" y="43"/>
                  </a:cubicBezTo>
                  <a:cubicBezTo>
                    <a:pt x="40" y="42"/>
                    <a:pt x="38" y="42"/>
                    <a:pt x="33" y="42"/>
                  </a:cubicBezTo>
                  <a:cubicBezTo>
                    <a:pt x="43" y="40"/>
                    <a:pt x="51" y="32"/>
                    <a:pt x="51" y="21"/>
                  </a:cubicBezTo>
                  <a:cubicBezTo>
                    <a:pt x="51" y="10"/>
                    <a:pt x="42" y="0"/>
                    <a:pt x="31" y="0"/>
                  </a:cubicBezTo>
                  <a:cubicBezTo>
                    <a:pt x="19" y="0"/>
                    <a:pt x="10" y="10"/>
                    <a:pt x="10" y="21"/>
                  </a:cubicBezTo>
                  <a:cubicBezTo>
                    <a:pt x="10" y="32"/>
                    <a:pt x="18" y="41"/>
                    <a:pt x="28" y="42"/>
                  </a:cubicBezTo>
                  <a:cubicBezTo>
                    <a:pt x="26" y="42"/>
                    <a:pt x="23" y="42"/>
                    <a:pt x="20" y="43"/>
                  </a:cubicBezTo>
                  <a:cubicBezTo>
                    <a:pt x="17" y="43"/>
                    <a:pt x="10" y="46"/>
                    <a:pt x="2" y="50"/>
                  </a:cubicBezTo>
                  <a:cubicBezTo>
                    <a:pt x="0" y="51"/>
                    <a:pt x="0" y="54"/>
                    <a:pt x="1" y="56"/>
                  </a:cubicBezTo>
                  <a:cubicBezTo>
                    <a:pt x="2" y="58"/>
                    <a:pt x="5" y="59"/>
                    <a:pt x="7" y="57"/>
                  </a:cubicBezTo>
                  <a:cubicBezTo>
                    <a:pt x="13" y="54"/>
                    <a:pt x="19" y="51"/>
                    <a:pt x="21" y="51"/>
                  </a:cubicBezTo>
                  <a:cubicBezTo>
                    <a:pt x="33" y="49"/>
                    <a:pt x="39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2" y="51"/>
                    <a:pt x="49" y="54"/>
                    <a:pt x="56" y="58"/>
                  </a:cubicBezTo>
                  <a:cubicBezTo>
                    <a:pt x="61" y="61"/>
                    <a:pt x="64" y="64"/>
                    <a:pt x="65" y="66"/>
                  </a:cubicBezTo>
                  <a:cubicBezTo>
                    <a:pt x="62" y="67"/>
                    <a:pt x="55" y="71"/>
                    <a:pt x="35" y="71"/>
                  </a:cubicBezTo>
                  <a:cubicBezTo>
                    <a:pt x="32" y="71"/>
                    <a:pt x="31" y="73"/>
                    <a:pt x="31" y="76"/>
                  </a:cubicBezTo>
                  <a:cubicBezTo>
                    <a:pt x="31" y="78"/>
                    <a:pt x="32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68" y="79"/>
                    <a:pt x="73" y="70"/>
                    <a:pt x="74" y="68"/>
                  </a:cubicBezTo>
                  <a:cubicBezTo>
                    <a:pt x="74" y="67"/>
                    <a:pt x="74" y="66"/>
                    <a:pt x="74" y="65"/>
                  </a:cubicBezTo>
                  <a:cubicBezTo>
                    <a:pt x="72" y="60"/>
                    <a:pt x="68" y="55"/>
                    <a:pt x="60" y="51"/>
                  </a:cubicBezTo>
                  <a:close/>
                  <a:moveTo>
                    <a:pt x="18" y="21"/>
                  </a:moveTo>
                  <a:cubicBezTo>
                    <a:pt x="18" y="14"/>
                    <a:pt x="24" y="9"/>
                    <a:pt x="31" y="9"/>
                  </a:cubicBezTo>
                  <a:cubicBezTo>
                    <a:pt x="37" y="9"/>
                    <a:pt x="43" y="14"/>
                    <a:pt x="43" y="21"/>
                  </a:cubicBezTo>
                  <a:cubicBezTo>
                    <a:pt x="43" y="28"/>
                    <a:pt x="37" y="33"/>
                    <a:pt x="31" y="33"/>
                  </a:cubicBezTo>
                  <a:cubicBezTo>
                    <a:pt x="24" y="33"/>
                    <a:pt x="18" y="28"/>
                    <a:pt x="18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</p:grpSp>
      <p:grpSp>
        <p:nvGrpSpPr>
          <p:cNvPr id="54" name="组合 53"/>
          <p:cNvGrpSpPr/>
          <p:nvPr userDrawn="1"/>
        </p:nvGrpSpPr>
        <p:grpSpPr>
          <a:xfrm>
            <a:off x="6325263" y="2811033"/>
            <a:ext cx="1762683" cy="1762683"/>
            <a:chOff x="7254587" y="2605210"/>
            <a:chExt cx="1376915" cy="1376915"/>
          </a:xfrm>
        </p:grpSpPr>
        <p:sp>
          <p:nvSpPr>
            <p:cNvPr id="55" name="矩形 54"/>
            <p:cNvSpPr/>
            <p:nvPr/>
          </p:nvSpPr>
          <p:spPr>
            <a:xfrm>
              <a:off x="7254587" y="2605210"/>
              <a:ext cx="1376915" cy="1376915"/>
            </a:xfrm>
            <a:prstGeom prst="rect">
              <a:avLst/>
            </a:prstGeom>
            <a:solidFill>
              <a:srgbClr val="A1A1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grpSp>
          <p:nvGrpSpPr>
            <p:cNvPr id="56" name="组合 55"/>
            <p:cNvGrpSpPr/>
            <p:nvPr/>
          </p:nvGrpSpPr>
          <p:grpSpPr>
            <a:xfrm>
              <a:off x="7254587" y="2789568"/>
              <a:ext cx="1090344" cy="1010387"/>
              <a:chOff x="7255368" y="2789568"/>
              <a:chExt cx="1090344" cy="1010387"/>
            </a:xfrm>
          </p:grpSpPr>
          <p:sp>
            <p:nvSpPr>
              <p:cNvPr id="57" name="Freeform 11"/>
              <p:cNvSpPr/>
              <p:nvPr/>
            </p:nvSpPr>
            <p:spPr bwMode="auto">
              <a:xfrm>
                <a:off x="7255368" y="3547358"/>
                <a:ext cx="556074" cy="67239"/>
              </a:xfrm>
              <a:custGeom>
                <a:avLst/>
                <a:gdLst>
                  <a:gd name="T0" fmla="*/ 75 w 75"/>
                  <a:gd name="T1" fmla="*/ 9 h 9"/>
                  <a:gd name="T2" fmla="*/ 75 w 75"/>
                  <a:gd name="T3" fmla="*/ 1 h 9"/>
                  <a:gd name="T4" fmla="*/ 7 w 75"/>
                  <a:gd name="T5" fmla="*/ 1 h 9"/>
                  <a:gd name="T6" fmla="*/ 0 w 75"/>
                  <a:gd name="T7" fmla="*/ 0 h 9"/>
                  <a:gd name="T8" fmla="*/ 0 w 75"/>
                  <a:gd name="T9" fmla="*/ 7 h 9"/>
                  <a:gd name="T10" fmla="*/ 7 w 75"/>
                  <a:gd name="T11" fmla="*/ 9 h 9"/>
                  <a:gd name="T12" fmla="*/ 75 w 75"/>
                  <a:gd name="T1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5" h="9">
                    <a:moveTo>
                      <a:pt x="75" y="9"/>
                    </a:moveTo>
                    <a:cubicBezTo>
                      <a:pt x="75" y="1"/>
                      <a:pt x="75" y="1"/>
                      <a:pt x="75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4" y="1"/>
                      <a:pt x="2" y="1"/>
                      <a:pt x="0" y="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8"/>
                      <a:pt x="4" y="9"/>
                      <a:pt x="7" y="9"/>
                    </a:cubicBezTo>
                    <a:lnTo>
                      <a:pt x="75" y="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Freeform 12"/>
              <p:cNvSpPr>
                <a:spLocks noEditPoints="1"/>
              </p:cNvSpPr>
              <p:nvPr/>
            </p:nvSpPr>
            <p:spPr bwMode="auto">
              <a:xfrm>
                <a:off x="7582471" y="3027628"/>
                <a:ext cx="318017" cy="356178"/>
              </a:xfrm>
              <a:custGeom>
                <a:avLst/>
                <a:gdLst>
                  <a:gd name="T0" fmla="*/ 43 w 43"/>
                  <a:gd name="T1" fmla="*/ 23 h 48"/>
                  <a:gd name="T2" fmla="*/ 43 w 43"/>
                  <a:gd name="T3" fmla="*/ 22 h 48"/>
                  <a:gd name="T4" fmla="*/ 43 w 43"/>
                  <a:gd name="T5" fmla="*/ 22 h 48"/>
                  <a:gd name="T6" fmla="*/ 42 w 43"/>
                  <a:gd name="T7" fmla="*/ 22 h 48"/>
                  <a:gd name="T8" fmla="*/ 42 w 43"/>
                  <a:gd name="T9" fmla="*/ 21 h 48"/>
                  <a:gd name="T10" fmla="*/ 42 w 43"/>
                  <a:gd name="T11" fmla="*/ 21 h 48"/>
                  <a:gd name="T12" fmla="*/ 5 w 43"/>
                  <a:gd name="T13" fmla="*/ 0 h 48"/>
                  <a:gd name="T14" fmla="*/ 5 w 43"/>
                  <a:gd name="T15" fmla="*/ 0 h 48"/>
                  <a:gd name="T16" fmla="*/ 4 w 43"/>
                  <a:gd name="T17" fmla="*/ 0 h 48"/>
                  <a:gd name="T18" fmla="*/ 3 w 43"/>
                  <a:gd name="T19" fmla="*/ 0 h 48"/>
                  <a:gd name="T20" fmla="*/ 3 w 43"/>
                  <a:gd name="T21" fmla="*/ 0 h 48"/>
                  <a:gd name="T22" fmla="*/ 3 w 43"/>
                  <a:gd name="T23" fmla="*/ 0 h 48"/>
                  <a:gd name="T24" fmla="*/ 2 w 43"/>
                  <a:gd name="T25" fmla="*/ 0 h 48"/>
                  <a:gd name="T26" fmla="*/ 1 w 43"/>
                  <a:gd name="T27" fmla="*/ 0 h 48"/>
                  <a:gd name="T28" fmla="*/ 1 w 43"/>
                  <a:gd name="T29" fmla="*/ 1 h 48"/>
                  <a:gd name="T30" fmla="*/ 0 w 43"/>
                  <a:gd name="T31" fmla="*/ 1 h 48"/>
                  <a:gd name="T32" fmla="*/ 0 w 43"/>
                  <a:gd name="T33" fmla="*/ 2 h 48"/>
                  <a:gd name="T34" fmla="*/ 0 w 43"/>
                  <a:gd name="T35" fmla="*/ 2 h 48"/>
                  <a:gd name="T36" fmla="*/ 0 w 43"/>
                  <a:gd name="T37" fmla="*/ 2 h 48"/>
                  <a:gd name="T38" fmla="*/ 0 w 43"/>
                  <a:gd name="T39" fmla="*/ 3 h 48"/>
                  <a:gd name="T40" fmla="*/ 0 w 43"/>
                  <a:gd name="T41" fmla="*/ 3 h 48"/>
                  <a:gd name="T42" fmla="*/ 0 w 43"/>
                  <a:gd name="T43" fmla="*/ 45 h 48"/>
                  <a:gd name="T44" fmla="*/ 0 w 43"/>
                  <a:gd name="T45" fmla="*/ 45 h 48"/>
                  <a:gd name="T46" fmla="*/ 0 w 43"/>
                  <a:gd name="T47" fmla="*/ 46 h 48"/>
                  <a:gd name="T48" fmla="*/ 0 w 43"/>
                  <a:gd name="T49" fmla="*/ 46 h 48"/>
                  <a:gd name="T50" fmla="*/ 0 w 43"/>
                  <a:gd name="T51" fmla="*/ 47 h 48"/>
                  <a:gd name="T52" fmla="*/ 2 w 43"/>
                  <a:gd name="T53" fmla="*/ 48 h 48"/>
                  <a:gd name="T54" fmla="*/ 2 w 43"/>
                  <a:gd name="T55" fmla="*/ 48 h 48"/>
                  <a:gd name="T56" fmla="*/ 3 w 43"/>
                  <a:gd name="T57" fmla="*/ 48 h 48"/>
                  <a:gd name="T58" fmla="*/ 3 w 43"/>
                  <a:gd name="T59" fmla="*/ 48 h 48"/>
                  <a:gd name="T60" fmla="*/ 3 w 43"/>
                  <a:gd name="T61" fmla="*/ 48 h 48"/>
                  <a:gd name="T62" fmla="*/ 3 w 43"/>
                  <a:gd name="T63" fmla="*/ 48 h 48"/>
                  <a:gd name="T64" fmla="*/ 4 w 43"/>
                  <a:gd name="T65" fmla="*/ 48 h 48"/>
                  <a:gd name="T66" fmla="*/ 5 w 43"/>
                  <a:gd name="T67" fmla="*/ 48 h 48"/>
                  <a:gd name="T68" fmla="*/ 5 w 43"/>
                  <a:gd name="T69" fmla="*/ 48 h 48"/>
                  <a:gd name="T70" fmla="*/ 42 w 43"/>
                  <a:gd name="T71" fmla="*/ 27 h 48"/>
                  <a:gd name="T72" fmla="*/ 42 w 43"/>
                  <a:gd name="T73" fmla="*/ 27 h 48"/>
                  <a:gd name="T74" fmla="*/ 43 w 43"/>
                  <a:gd name="T75" fmla="*/ 26 h 48"/>
                  <a:gd name="T76" fmla="*/ 43 w 43"/>
                  <a:gd name="T77" fmla="*/ 26 h 48"/>
                  <a:gd name="T78" fmla="*/ 43 w 43"/>
                  <a:gd name="T79" fmla="*/ 26 h 48"/>
                  <a:gd name="T80" fmla="*/ 43 w 43"/>
                  <a:gd name="T81" fmla="*/ 25 h 48"/>
                  <a:gd name="T82" fmla="*/ 43 w 43"/>
                  <a:gd name="T83" fmla="*/ 25 h 48"/>
                  <a:gd name="T84" fmla="*/ 43 w 43"/>
                  <a:gd name="T85" fmla="*/ 24 h 48"/>
                  <a:gd name="T86" fmla="*/ 43 w 43"/>
                  <a:gd name="T87" fmla="*/ 23 h 48"/>
                  <a:gd name="T88" fmla="*/ 43 w 43"/>
                  <a:gd name="T89" fmla="*/ 23 h 48"/>
                  <a:gd name="T90" fmla="*/ 7 w 43"/>
                  <a:gd name="T91" fmla="*/ 39 h 48"/>
                  <a:gd name="T92" fmla="*/ 7 w 43"/>
                  <a:gd name="T93" fmla="*/ 9 h 48"/>
                  <a:gd name="T94" fmla="*/ 33 w 43"/>
                  <a:gd name="T95" fmla="*/ 24 h 48"/>
                  <a:gd name="T96" fmla="*/ 7 w 43"/>
                  <a:gd name="T97" fmla="*/ 39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3" h="48">
                    <a:moveTo>
                      <a:pt x="43" y="23"/>
                    </a:moveTo>
                    <a:cubicBezTo>
                      <a:pt x="43" y="23"/>
                      <a:pt x="43" y="22"/>
                      <a:pt x="43" y="22"/>
                    </a:cubicBezTo>
                    <a:cubicBezTo>
                      <a:pt x="43" y="22"/>
                      <a:pt x="43" y="22"/>
                      <a:pt x="43" y="22"/>
                    </a:cubicBezTo>
                    <a:cubicBezTo>
                      <a:pt x="43" y="22"/>
                      <a:pt x="43" y="22"/>
                      <a:pt x="42" y="22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6"/>
                      <a:pt x="0" y="46"/>
                      <a:pt x="0" y="47"/>
                    </a:cubicBezTo>
                    <a:cubicBezTo>
                      <a:pt x="1" y="47"/>
                      <a:pt x="1" y="48"/>
                      <a:pt x="2" y="48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2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2" y="27"/>
                      <a:pt x="43" y="26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6"/>
                      <a:pt x="43" y="26"/>
                      <a:pt x="43" y="25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3" y="24"/>
                      <a:pt x="43" y="24"/>
                      <a:pt x="43" y="23"/>
                    </a:cubicBezTo>
                    <a:cubicBezTo>
                      <a:pt x="43" y="23"/>
                      <a:pt x="43" y="23"/>
                      <a:pt x="43" y="23"/>
                    </a:cubicBezTo>
                    <a:close/>
                    <a:moveTo>
                      <a:pt x="7" y="39"/>
                    </a:moveTo>
                    <a:cubicBezTo>
                      <a:pt x="7" y="9"/>
                      <a:pt x="7" y="9"/>
                      <a:pt x="7" y="9"/>
                    </a:cubicBezTo>
                    <a:cubicBezTo>
                      <a:pt x="33" y="24"/>
                      <a:pt x="33" y="24"/>
                      <a:pt x="33" y="24"/>
                    </a:cubicBezTo>
                    <a:lnTo>
                      <a:pt x="7" y="3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 13"/>
              <p:cNvSpPr/>
              <p:nvPr/>
            </p:nvSpPr>
            <p:spPr bwMode="auto">
              <a:xfrm>
                <a:off x="7277177" y="3739985"/>
                <a:ext cx="928609" cy="59970"/>
              </a:xfrm>
              <a:custGeom>
                <a:avLst/>
                <a:gdLst>
                  <a:gd name="T0" fmla="*/ 121 w 125"/>
                  <a:gd name="T1" fmla="*/ 0 h 8"/>
                  <a:gd name="T2" fmla="*/ 4 w 125"/>
                  <a:gd name="T3" fmla="*/ 0 h 8"/>
                  <a:gd name="T4" fmla="*/ 0 w 125"/>
                  <a:gd name="T5" fmla="*/ 4 h 8"/>
                  <a:gd name="T6" fmla="*/ 4 w 125"/>
                  <a:gd name="T7" fmla="*/ 8 h 8"/>
                  <a:gd name="T8" fmla="*/ 121 w 125"/>
                  <a:gd name="T9" fmla="*/ 8 h 8"/>
                  <a:gd name="T10" fmla="*/ 125 w 125"/>
                  <a:gd name="T11" fmla="*/ 4 h 8"/>
                  <a:gd name="T12" fmla="*/ 121 w 125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5" h="8">
                    <a:moveTo>
                      <a:pt x="121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1" y="8"/>
                      <a:pt x="121" y="8"/>
                      <a:pt x="121" y="8"/>
                    </a:cubicBezTo>
                    <a:cubicBezTo>
                      <a:pt x="123" y="8"/>
                      <a:pt x="125" y="6"/>
                      <a:pt x="125" y="4"/>
                    </a:cubicBezTo>
                    <a:cubicBezTo>
                      <a:pt x="125" y="2"/>
                      <a:pt x="123" y="0"/>
                      <a:pt x="12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Freeform 14"/>
              <p:cNvSpPr/>
              <p:nvPr/>
            </p:nvSpPr>
            <p:spPr bwMode="auto">
              <a:xfrm>
                <a:off x="7864145" y="3501926"/>
                <a:ext cx="154466" cy="163552"/>
              </a:xfrm>
              <a:custGeom>
                <a:avLst/>
                <a:gdLst>
                  <a:gd name="T0" fmla="*/ 28 w 85"/>
                  <a:gd name="T1" fmla="*/ 0 h 90"/>
                  <a:gd name="T2" fmla="*/ 28 w 85"/>
                  <a:gd name="T3" fmla="*/ 29 h 90"/>
                  <a:gd name="T4" fmla="*/ 0 w 85"/>
                  <a:gd name="T5" fmla="*/ 29 h 90"/>
                  <a:gd name="T6" fmla="*/ 0 w 85"/>
                  <a:gd name="T7" fmla="*/ 29 h 90"/>
                  <a:gd name="T8" fmla="*/ 0 w 85"/>
                  <a:gd name="T9" fmla="*/ 58 h 90"/>
                  <a:gd name="T10" fmla="*/ 0 w 85"/>
                  <a:gd name="T11" fmla="*/ 62 h 90"/>
                  <a:gd name="T12" fmla="*/ 28 w 85"/>
                  <a:gd name="T13" fmla="*/ 62 h 90"/>
                  <a:gd name="T14" fmla="*/ 28 w 85"/>
                  <a:gd name="T15" fmla="*/ 90 h 90"/>
                  <a:gd name="T16" fmla="*/ 57 w 85"/>
                  <a:gd name="T17" fmla="*/ 90 h 90"/>
                  <a:gd name="T18" fmla="*/ 57 w 85"/>
                  <a:gd name="T19" fmla="*/ 62 h 90"/>
                  <a:gd name="T20" fmla="*/ 85 w 85"/>
                  <a:gd name="T21" fmla="*/ 62 h 90"/>
                  <a:gd name="T22" fmla="*/ 85 w 85"/>
                  <a:gd name="T23" fmla="*/ 58 h 90"/>
                  <a:gd name="T24" fmla="*/ 85 w 85"/>
                  <a:gd name="T25" fmla="*/ 29 h 90"/>
                  <a:gd name="T26" fmla="*/ 85 w 85"/>
                  <a:gd name="T27" fmla="*/ 29 h 90"/>
                  <a:gd name="T28" fmla="*/ 57 w 85"/>
                  <a:gd name="T29" fmla="*/ 29 h 90"/>
                  <a:gd name="T30" fmla="*/ 57 w 85"/>
                  <a:gd name="T31" fmla="*/ 0 h 90"/>
                  <a:gd name="T32" fmla="*/ 28 w 85"/>
                  <a:gd name="T33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5" h="90">
                    <a:moveTo>
                      <a:pt x="28" y="0"/>
                    </a:moveTo>
                    <a:lnTo>
                      <a:pt x="28" y="29"/>
                    </a:lnTo>
                    <a:lnTo>
                      <a:pt x="0" y="29"/>
                    </a:lnTo>
                    <a:lnTo>
                      <a:pt x="0" y="29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28" y="62"/>
                    </a:lnTo>
                    <a:lnTo>
                      <a:pt x="28" y="90"/>
                    </a:lnTo>
                    <a:lnTo>
                      <a:pt x="57" y="90"/>
                    </a:lnTo>
                    <a:lnTo>
                      <a:pt x="57" y="62"/>
                    </a:lnTo>
                    <a:lnTo>
                      <a:pt x="85" y="62"/>
                    </a:lnTo>
                    <a:lnTo>
                      <a:pt x="85" y="58"/>
                    </a:lnTo>
                    <a:lnTo>
                      <a:pt x="85" y="29"/>
                    </a:lnTo>
                    <a:lnTo>
                      <a:pt x="85" y="29"/>
                    </a:lnTo>
                    <a:lnTo>
                      <a:pt x="57" y="29"/>
                    </a:lnTo>
                    <a:lnTo>
                      <a:pt x="57" y="0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Freeform 15"/>
              <p:cNvSpPr/>
              <p:nvPr/>
            </p:nvSpPr>
            <p:spPr bwMode="auto">
              <a:xfrm>
                <a:off x="7255368" y="2789568"/>
                <a:ext cx="1090344" cy="825027"/>
              </a:xfrm>
              <a:custGeom>
                <a:avLst/>
                <a:gdLst>
                  <a:gd name="T0" fmla="*/ 125 w 147"/>
                  <a:gd name="T1" fmla="*/ 0 h 111"/>
                  <a:gd name="T2" fmla="*/ 125 w 147"/>
                  <a:gd name="T3" fmla="*/ 0 h 111"/>
                  <a:gd name="T4" fmla="*/ 7 w 147"/>
                  <a:gd name="T5" fmla="*/ 0 h 111"/>
                  <a:gd name="T6" fmla="*/ 0 w 147"/>
                  <a:gd name="T7" fmla="*/ 1 h 111"/>
                  <a:gd name="T8" fmla="*/ 0 w 147"/>
                  <a:gd name="T9" fmla="*/ 9 h 111"/>
                  <a:gd name="T10" fmla="*/ 7 w 147"/>
                  <a:gd name="T11" fmla="*/ 7 h 111"/>
                  <a:gd name="T12" fmla="*/ 124 w 147"/>
                  <a:gd name="T13" fmla="*/ 7 h 111"/>
                  <a:gd name="T14" fmla="*/ 140 w 147"/>
                  <a:gd name="T15" fmla="*/ 23 h 111"/>
                  <a:gd name="T16" fmla="*/ 140 w 147"/>
                  <a:gd name="T17" fmla="*/ 88 h 111"/>
                  <a:gd name="T18" fmla="*/ 124 w 147"/>
                  <a:gd name="T19" fmla="*/ 103 h 111"/>
                  <a:gd name="T20" fmla="*/ 111 w 147"/>
                  <a:gd name="T21" fmla="*/ 103 h 111"/>
                  <a:gd name="T22" fmla="*/ 111 w 147"/>
                  <a:gd name="T23" fmla="*/ 111 h 111"/>
                  <a:gd name="T24" fmla="*/ 125 w 147"/>
                  <a:gd name="T25" fmla="*/ 111 h 111"/>
                  <a:gd name="T26" fmla="*/ 125 w 147"/>
                  <a:gd name="T27" fmla="*/ 110 h 111"/>
                  <a:gd name="T28" fmla="*/ 147 w 147"/>
                  <a:gd name="T29" fmla="*/ 88 h 111"/>
                  <a:gd name="T30" fmla="*/ 147 w 147"/>
                  <a:gd name="T31" fmla="*/ 23 h 111"/>
                  <a:gd name="T32" fmla="*/ 125 w 147"/>
                  <a:gd name="T3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7" h="111">
                    <a:moveTo>
                      <a:pt x="125" y="0"/>
                    </a:moveTo>
                    <a:cubicBezTo>
                      <a:pt x="125" y="0"/>
                      <a:pt x="125" y="0"/>
                      <a:pt x="125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4" y="0"/>
                      <a:pt x="2" y="1"/>
                      <a:pt x="0" y="1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" y="8"/>
                      <a:pt x="4" y="7"/>
                      <a:pt x="7" y="7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33" y="7"/>
                      <a:pt x="140" y="14"/>
                      <a:pt x="140" y="23"/>
                    </a:cubicBezTo>
                    <a:cubicBezTo>
                      <a:pt x="140" y="88"/>
                      <a:pt x="140" y="88"/>
                      <a:pt x="140" y="88"/>
                    </a:cubicBezTo>
                    <a:cubicBezTo>
                      <a:pt x="140" y="96"/>
                      <a:pt x="133" y="103"/>
                      <a:pt x="124" y="103"/>
                    </a:cubicBezTo>
                    <a:cubicBezTo>
                      <a:pt x="111" y="103"/>
                      <a:pt x="111" y="103"/>
                      <a:pt x="111" y="103"/>
                    </a:cubicBezTo>
                    <a:cubicBezTo>
                      <a:pt x="111" y="111"/>
                      <a:pt x="111" y="111"/>
                      <a:pt x="111" y="111"/>
                    </a:cubicBezTo>
                    <a:cubicBezTo>
                      <a:pt x="125" y="111"/>
                      <a:pt x="125" y="111"/>
                      <a:pt x="125" y="111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37" y="110"/>
                      <a:pt x="147" y="100"/>
                      <a:pt x="147" y="88"/>
                    </a:cubicBezTo>
                    <a:cubicBezTo>
                      <a:pt x="147" y="23"/>
                      <a:pt x="147" y="23"/>
                      <a:pt x="147" y="23"/>
                    </a:cubicBezTo>
                    <a:cubicBezTo>
                      <a:pt x="147" y="11"/>
                      <a:pt x="137" y="1"/>
                      <a:pt x="12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2" name="组合 61"/>
          <p:cNvGrpSpPr/>
          <p:nvPr userDrawn="1"/>
        </p:nvGrpSpPr>
        <p:grpSpPr>
          <a:xfrm>
            <a:off x="756325" y="2805322"/>
            <a:ext cx="1762686" cy="1762683"/>
            <a:chOff x="1507108" y="2100648"/>
            <a:chExt cx="1627763" cy="1627761"/>
          </a:xfrm>
        </p:grpSpPr>
        <p:sp>
          <p:nvSpPr>
            <p:cNvPr id="63" name="矩形 62"/>
            <p:cNvSpPr/>
            <p:nvPr/>
          </p:nvSpPr>
          <p:spPr>
            <a:xfrm>
              <a:off x="1507110" y="2100648"/>
              <a:ext cx="1627761" cy="1627761"/>
            </a:xfrm>
            <a:prstGeom prst="rect">
              <a:avLst/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grpSp>
          <p:nvGrpSpPr>
            <p:cNvPr id="64" name="组合 63"/>
            <p:cNvGrpSpPr/>
            <p:nvPr/>
          </p:nvGrpSpPr>
          <p:grpSpPr>
            <a:xfrm>
              <a:off x="1507108" y="2201164"/>
              <a:ext cx="1384865" cy="1466956"/>
              <a:chOff x="1550988" y="1668463"/>
              <a:chExt cx="615950" cy="652462"/>
            </a:xfrm>
          </p:grpSpPr>
          <p:sp>
            <p:nvSpPr>
              <p:cNvPr id="65" name="Freeform 5"/>
              <p:cNvSpPr/>
              <p:nvPr/>
            </p:nvSpPr>
            <p:spPr bwMode="auto">
              <a:xfrm>
                <a:off x="1550988" y="1962150"/>
                <a:ext cx="585788" cy="358775"/>
              </a:xfrm>
              <a:custGeom>
                <a:avLst/>
                <a:gdLst>
                  <a:gd name="T0" fmla="*/ 62 w 153"/>
                  <a:gd name="T1" fmla="*/ 94 h 94"/>
                  <a:gd name="T2" fmla="*/ 69 w 153"/>
                  <a:gd name="T3" fmla="*/ 91 h 94"/>
                  <a:gd name="T4" fmla="*/ 139 w 153"/>
                  <a:gd name="T5" fmla="*/ 22 h 94"/>
                  <a:gd name="T6" fmla="*/ 153 w 153"/>
                  <a:gd name="T7" fmla="*/ 0 h 94"/>
                  <a:gd name="T8" fmla="*/ 145 w 153"/>
                  <a:gd name="T9" fmla="*/ 0 h 94"/>
                  <a:gd name="T10" fmla="*/ 134 w 153"/>
                  <a:gd name="T11" fmla="*/ 16 h 94"/>
                  <a:gd name="T12" fmla="*/ 64 w 153"/>
                  <a:gd name="T13" fmla="*/ 86 h 94"/>
                  <a:gd name="T14" fmla="*/ 62 w 153"/>
                  <a:gd name="T15" fmla="*/ 87 h 94"/>
                  <a:gd name="T16" fmla="*/ 59 w 153"/>
                  <a:gd name="T17" fmla="*/ 86 h 94"/>
                  <a:gd name="T18" fmla="*/ 0 w 153"/>
                  <a:gd name="T19" fmla="*/ 27 h 94"/>
                  <a:gd name="T20" fmla="*/ 0 w 153"/>
                  <a:gd name="T21" fmla="*/ 36 h 94"/>
                  <a:gd name="T22" fmla="*/ 54 w 153"/>
                  <a:gd name="T23" fmla="*/ 91 h 94"/>
                  <a:gd name="T24" fmla="*/ 62 w 153"/>
                  <a:gd name="T25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3" h="94">
                    <a:moveTo>
                      <a:pt x="62" y="94"/>
                    </a:moveTo>
                    <a:cubicBezTo>
                      <a:pt x="64" y="94"/>
                      <a:pt x="67" y="93"/>
                      <a:pt x="69" y="91"/>
                    </a:cubicBezTo>
                    <a:cubicBezTo>
                      <a:pt x="139" y="22"/>
                      <a:pt x="139" y="22"/>
                      <a:pt x="139" y="22"/>
                    </a:cubicBezTo>
                    <a:cubicBezTo>
                      <a:pt x="145" y="15"/>
                      <a:pt x="150" y="8"/>
                      <a:pt x="153" y="0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42" y="6"/>
                      <a:pt x="139" y="12"/>
                      <a:pt x="134" y="16"/>
                    </a:cubicBezTo>
                    <a:cubicBezTo>
                      <a:pt x="64" y="86"/>
                      <a:pt x="64" y="86"/>
                      <a:pt x="64" y="86"/>
                    </a:cubicBezTo>
                    <a:cubicBezTo>
                      <a:pt x="63" y="87"/>
                      <a:pt x="62" y="87"/>
                      <a:pt x="62" y="87"/>
                    </a:cubicBezTo>
                    <a:cubicBezTo>
                      <a:pt x="61" y="87"/>
                      <a:pt x="60" y="87"/>
                      <a:pt x="59" y="8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54" y="91"/>
                      <a:pt x="54" y="91"/>
                      <a:pt x="54" y="91"/>
                    </a:cubicBezTo>
                    <a:cubicBezTo>
                      <a:pt x="56" y="93"/>
                      <a:pt x="59" y="94"/>
                      <a:pt x="62" y="9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6"/>
              <p:cNvSpPr/>
              <p:nvPr/>
            </p:nvSpPr>
            <p:spPr bwMode="auto">
              <a:xfrm>
                <a:off x="1550988" y="1668463"/>
                <a:ext cx="588963" cy="160337"/>
              </a:xfrm>
              <a:custGeom>
                <a:avLst/>
                <a:gdLst>
                  <a:gd name="T0" fmla="*/ 139 w 154"/>
                  <a:gd name="T1" fmla="*/ 18 h 42"/>
                  <a:gd name="T2" fmla="*/ 114 w 154"/>
                  <a:gd name="T3" fmla="*/ 3 h 42"/>
                  <a:gd name="T4" fmla="*/ 83 w 154"/>
                  <a:gd name="T5" fmla="*/ 3 h 42"/>
                  <a:gd name="T6" fmla="*/ 62 w 154"/>
                  <a:gd name="T7" fmla="*/ 13 h 42"/>
                  <a:gd name="T8" fmla="*/ 40 w 154"/>
                  <a:gd name="T9" fmla="*/ 3 h 42"/>
                  <a:gd name="T10" fmla="*/ 9 w 154"/>
                  <a:gd name="T11" fmla="*/ 3 h 42"/>
                  <a:gd name="T12" fmla="*/ 0 w 154"/>
                  <a:gd name="T13" fmla="*/ 7 h 42"/>
                  <a:gd name="T14" fmla="*/ 0 w 154"/>
                  <a:gd name="T15" fmla="*/ 15 h 42"/>
                  <a:gd name="T16" fmla="*/ 11 w 154"/>
                  <a:gd name="T17" fmla="*/ 10 h 42"/>
                  <a:gd name="T18" fmla="*/ 26 w 154"/>
                  <a:gd name="T19" fmla="*/ 8 h 42"/>
                  <a:gd name="T20" fmla="*/ 38 w 154"/>
                  <a:gd name="T21" fmla="*/ 9 h 42"/>
                  <a:gd name="T22" fmla="*/ 59 w 154"/>
                  <a:gd name="T23" fmla="*/ 21 h 42"/>
                  <a:gd name="T24" fmla="*/ 62 w 154"/>
                  <a:gd name="T25" fmla="*/ 22 h 42"/>
                  <a:gd name="T26" fmla="*/ 64 w 154"/>
                  <a:gd name="T27" fmla="*/ 21 h 42"/>
                  <a:gd name="T28" fmla="*/ 85 w 154"/>
                  <a:gd name="T29" fmla="*/ 9 h 42"/>
                  <a:gd name="T30" fmla="*/ 112 w 154"/>
                  <a:gd name="T31" fmla="*/ 10 h 42"/>
                  <a:gd name="T32" fmla="*/ 134 w 154"/>
                  <a:gd name="T33" fmla="*/ 23 h 42"/>
                  <a:gd name="T34" fmla="*/ 146 w 154"/>
                  <a:gd name="T35" fmla="*/ 42 h 42"/>
                  <a:gd name="T36" fmla="*/ 154 w 154"/>
                  <a:gd name="T37" fmla="*/ 42 h 42"/>
                  <a:gd name="T38" fmla="*/ 153 w 154"/>
                  <a:gd name="T39" fmla="*/ 42 h 42"/>
                  <a:gd name="T40" fmla="*/ 139 w 154"/>
                  <a:gd name="T41" fmla="*/ 18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4" h="42">
                    <a:moveTo>
                      <a:pt x="139" y="18"/>
                    </a:moveTo>
                    <a:cubicBezTo>
                      <a:pt x="132" y="11"/>
                      <a:pt x="123" y="6"/>
                      <a:pt x="114" y="3"/>
                    </a:cubicBezTo>
                    <a:cubicBezTo>
                      <a:pt x="104" y="0"/>
                      <a:pt x="94" y="0"/>
                      <a:pt x="83" y="3"/>
                    </a:cubicBezTo>
                    <a:cubicBezTo>
                      <a:pt x="76" y="5"/>
                      <a:pt x="68" y="8"/>
                      <a:pt x="62" y="13"/>
                    </a:cubicBezTo>
                    <a:cubicBezTo>
                      <a:pt x="55" y="8"/>
                      <a:pt x="48" y="5"/>
                      <a:pt x="40" y="3"/>
                    </a:cubicBezTo>
                    <a:cubicBezTo>
                      <a:pt x="29" y="0"/>
                      <a:pt x="19" y="0"/>
                      <a:pt x="9" y="3"/>
                    </a:cubicBezTo>
                    <a:cubicBezTo>
                      <a:pt x="6" y="4"/>
                      <a:pt x="3" y="6"/>
                      <a:pt x="0" y="7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3"/>
                      <a:pt x="7" y="11"/>
                      <a:pt x="11" y="10"/>
                    </a:cubicBezTo>
                    <a:cubicBezTo>
                      <a:pt x="16" y="9"/>
                      <a:pt x="21" y="8"/>
                      <a:pt x="26" y="8"/>
                    </a:cubicBezTo>
                    <a:cubicBezTo>
                      <a:pt x="30" y="8"/>
                      <a:pt x="34" y="8"/>
                      <a:pt x="38" y="9"/>
                    </a:cubicBezTo>
                    <a:cubicBezTo>
                      <a:pt x="46" y="11"/>
                      <a:pt x="53" y="15"/>
                      <a:pt x="59" y="21"/>
                    </a:cubicBezTo>
                    <a:cubicBezTo>
                      <a:pt x="62" y="22"/>
                      <a:pt x="62" y="22"/>
                      <a:pt x="62" y="22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70" y="15"/>
                      <a:pt x="78" y="11"/>
                      <a:pt x="85" y="9"/>
                    </a:cubicBezTo>
                    <a:cubicBezTo>
                      <a:pt x="94" y="7"/>
                      <a:pt x="103" y="7"/>
                      <a:pt x="112" y="10"/>
                    </a:cubicBezTo>
                    <a:cubicBezTo>
                      <a:pt x="120" y="13"/>
                      <a:pt x="128" y="17"/>
                      <a:pt x="134" y="23"/>
                    </a:cubicBezTo>
                    <a:cubicBezTo>
                      <a:pt x="139" y="28"/>
                      <a:pt x="143" y="35"/>
                      <a:pt x="146" y="42"/>
                    </a:cubicBezTo>
                    <a:cubicBezTo>
                      <a:pt x="154" y="42"/>
                      <a:pt x="154" y="42"/>
                      <a:pt x="154" y="42"/>
                    </a:cubicBezTo>
                    <a:cubicBezTo>
                      <a:pt x="153" y="42"/>
                      <a:pt x="153" y="42"/>
                      <a:pt x="153" y="42"/>
                    </a:cubicBezTo>
                    <a:cubicBezTo>
                      <a:pt x="150" y="33"/>
                      <a:pt x="145" y="25"/>
                      <a:pt x="139" y="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7"/>
              <p:cNvSpPr/>
              <p:nvPr/>
            </p:nvSpPr>
            <p:spPr bwMode="auto">
              <a:xfrm>
                <a:off x="2087563" y="1855788"/>
                <a:ext cx="79375" cy="79375"/>
              </a:xfrm>
              <a:custGeom>
                <a:avLst/>
                <a:gdLst>
                  <a:gd name="T0" fmla="*/ 50 w 50"/>
                  <a:gd name="T1" fmla="*/ 17 h 50"/>
                  <a:gd name="T2" fmla="*/ 33 w 50"/>
                  <a:gd name="T3" fmla="*/ 17 h 50"/>
                  <a:gd name="T4" fmla="*/ 33 w 50"/>
                  <a:gd name="T5" fmla="*/ 0 h 50"/>
                  <a:gd name="T6" fmla="*/ 16 w 50"/>
                  <a:gd name="T7" fmla="*/ 0 h 50"/>
                  <a:gd name="T8" fmla="*/ 16 w 50"/>
                  <a:gd name="T9" fmla="*/ 17 h 50"/>
                  <a:gd name="T10" fmla="*/ 0 w 50"/>
                  <a:gd name="T11" fmla="*/ 17 h 50"/>
                  <a:gd name="T12" fmla="*/ 0 w 50"/>
                  <a:gd name="T13" fmla="*/ 33 h 50"/>
                  <a:gd name="T14" fmla="*/ 16 w 50"/>
                  <a:gd name="T15" fmla="*/ 33 h 50"/>
                  <a:gd name="T16" fmla="*/ 16 w 50"/>
                  <a:gd name="T17" fmla="*/ 50 h 50"/>
                  <a:gd name="T18" fmla="*/ 33 w 50"/>
                  <a:gd name="T19" fmla="*/ 50 h 50"/>
                  <a:gd name="T20" fmla="*/ 33 w 50"/>
                  <a:gd name="T21" fmla="*/ 33 h 50"/>
                  <a:gd name="T22" fmla="*/ 50 w 50"/>
                  <a:gd name="T23" fmla="*/ 33 h 50"/>
                  <a:gd name="T24" fmla="*/ 50 w 50"/>
                  <a:gd name="T25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50">
                    <a:moveTo>
                      <a:pt x="50" y="17"/>
                    </a:moveTo>
                    <a:lnTo>
                      <a:pt x="33" y="17"/>
                    </a:lnTo>
                    <a:lnTo>
                      <a:pt x="33" y="0"/>
                    </a:lnTo>
                    <a:lnTo>
                      <a:pt x="16" y="0"/>
                    </a:lnTo>
                    <a:lnTo>
                      <a:pt x="16" y="17"/>
                    </a:lnTo>
                    <a:lnTo>
                      <a:pt x="0" y="17"/>
                    </a:lnTo>
                    <a:lnTo>
                      <a:pt x="0" y="33"/>
                    </a:lnTo>
                    <a:lnTo>
                      <a:pt x="16" y="33"/>
                    </a:lnTo>
                    <a:lnTo>
                      <a:pt x="16" y="50"/>
                    </a:lnTo>
                    <a:lnTo>
                      <a:pt x="33" y="50"/>
                    </a:lnTo>
                    <a:lnTo>
                      <a:pt x="33" y="33"/>
                    </a:lnTo>
                    <a:lnTo>
                      <a:pt x="50" y="33"/>
                    </a:lnTo>
                    <a:lnTo>
                      <a:pt x="50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8" name="组合 67"/>
          <p:cNvGrpSpPr/>
          <p:nvPr userDrawn="1"/>
        </p:nvGrpSpPr>
        <p:grpSpPr>
          <a:xfrm>
            <a:off x="3540794" y="2805322"/>
            <a:ext cx="1762686" cy="1762683"/>
            <a:chOff x="4146320" y="2100648"/>
            <a:chExt cx="1627764" cy="1627761"/>
          </a:xfrm>
        </p:grpSpPr>
        <p:sp>
          <p:nvSpPr>
            <p:cNvPr id="69" name="矩形 68"/>
            <p:cNvSpPr/>
            <p:nvPr/>
          </p:nvSpPr>
          <p:spPr>
            <a:xfrm>
              <a:off x="4146323" y="2100648"/>
              <a:ext cx="1627761" cy="1627761"/>
            </a:xfrm>
            <a:prstGeom prst="rect">
              <a:avLst/>
            </a:prstGeom>
            <a:solidFill>
              <a:srgbClr val="1737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pic>
          <p:nvPicPr>
            <p:cNvPr id="70" name="图片 6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46320" y="2201164"/>
              <a:ext cx="1472700" cy="1527245"/>
            </a:xfrm>
            <a:prstGeom prst="rect">
              <a:avLst/>
            </a:prstGeom>
          </p:spPr>
        </p:pic>
      </p:grpSp>
      <p:sp>
        <p:nvSpPr>
          <p:cNvPr id="75" name="文本占位符 11"/>
          <p:cNvSpPr>
            <a:spLocks noGrp="1"/>
          </p:cNvSpPr>
          <p:nvPr>
            <p:ph type="body" sz="quarter" idx="16" hasCustomPrompt="1"/>
          </p:nvPr>
        </p:nvSpPr>
        <p:spPr>
          <a:xfrm>
            <a:off x="888171" y="4808771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6" name="文本占位符 11"/>
          <p:cNvSpPr>
            <a:spLocks noGrp="1"/>
          </p:cNvSpPr>
          <p:nvPr>
            <p:ph type="body" sz="quarter" idx="17" hasCustomPrompt="1"/>
          </p:nvPr>
        </p:nvSpPr>
        <p:spPr>
          <a:xfrm>
            <a:off x="3677711" y="4808771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7" name="文本占位符 11"/>
          <p:cNvSpPr>
            <a:spLocks noGrp="1"/>
          </p:cNvSpPr>
          <p:nvPr>
            <p:ph type="body" sz="quarter" idx="18" hasCustomPrompt="1"/>
          </p:nvPr>
        </p:nvSpPr>
        <p:spPr>
          <a:xfrm>
            <a:off x="6453376" y="4808771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8" name="文本占位符 11"/>
          <p:cNvSpPr>
            <a:spLocks noGrp="1"/>
          </p:cNvSpPr>
          <p:nvPr>
            <p:ph type="body" sz="quarter" idx="19" hasCustomPrompt="1"/>
          </p:nvPr>
        </p:nvSpPr>
        <p:spPr>
          <a:xfrm>
            <a:off x="9242916" y="4819034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38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10427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</a:t>
            </a:r>
            <a:endParaRPr lang="en-US" altLang="zh-CN" dirty="0"/>
          </a:p>
          <a:p>
            <a:r>
              <a:rPr lang="zh-CN" altLang="en-US" dirty="0"/>
              <a:t> </a:t>
            </a:r>
          </a:p>
        </p:txBody>
      </p:sp>
      <p:sp>
        <p:nvSpPr>
          <p:cNvPr id="39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1764000"/>
            <a:ext cx="10210270" cy="889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图片 2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6000" y="5759999"/>
            <a:ext cx="1620000" cy="526887"/>
          </a:xfrm>
          <a:prstGeom prst="rect">
            <a:avLst/>
          </a:prstGeom>
        </p:spPr>
      </p:pic>
      <p:grpSp>
        <p:nvGrpSpPr>
          <p:cNvPr id="30" name="组合 29"/>
          <p:cNvGrpSpPr>
            <a:grpSpLocks noChangeAspect="1"/>
          </p:cNvGrpSpPr>
          <p:nvPr userDrawn="1"/>
        </p:nvGrpSpPr>
        <p:grpSpPr>
          <a:xfrm>
            <a:off x="4773100" y="2458868"/>
            <a:ext cx="2645800" cy="1440000"/>
            <a:chOff x="-1906587" y="2205038"/>
            <a:chExt cx="3138488" cy="1708149"/>
          </a:xfrm>
          <a:solidFill>
            <a:srgbClr val="005BAC"/>
          </a:solidFill>
        </p:grpSpPr>
        <p:sp>
          <p:nvSpPr>
            <p:cNvPr id="58" name="Freeform 5"/>
            <p:cNvSpPr/>
            <p:nvPr/>
          </p:nvSpPr>
          <p:spPr bwMode="auto">
            <a:xfrm>
              <a:off x="-474662" y="2205038"/>
              <a:ext cx="1706563" cy="1708149"/>
            </a:xfrm>
            <a:custGeom>
              <a:avLst/>
              <a:gdLst>
                <a:gd name="T0" fmla="*/ 907 w 907"/>
                <a:gd name="T1" fmla="*/ 907 h 907"/>
                <a:gd name="T2" fmla="*/ 0 w 907"/>
                <a:gd name="T3" fmla="*/ 907 h 907"/>
                <a:gd name="T4" fmla="*/ 0 w 907"/>
                <a:gd name="T5" fmla="*/ 794 h 907"/>
                <a:gd name="T6" fmla="*/ 14 w 907"/>
                <a:gd name="T7" fmla="*/ 794 h 907"/>
                <a:gd name="T8" fmla="*/ 14 w 907"/>
                <a:gd name="T9" fmla="*/ 894 h 907"/>
                <a:gd name="T10" fmla="*/ 893 w 907"/>
                <a:gd name="T11" fmla="*/ 894 h 907"/>
                <a:gd name="T12" fmla="*/ 893 w 907"/>
                <a:gd name="T13" fmla="*/ 67 h 907"/>
                <a:gd name="T14" fmla="*/ 840 w 907"/>
                <a:gd name="T15" fmla="*/ 14 h 907"/>
                <a:gd name="T16" fmla="*/ 14 w 907"/>
                <a:gd name="T17" fmla="*/ 14 h 907"/>
                <a:gd name="T18" fmla="*/ 14 w 907"/>
                <a:gd name="T19" fmla="*/ 114 h 907"/>
                <a:gd name="T20" fmla="*/ 0 w 907"/>
                <a:gd name="T21" fmla="*/ 114 h 907"/>
                <a:gd name="T22" fmla="*/ 0 w 907"/>
                <a:gd name="T23" fmla="*/ 0 h 907"/>
                <a:gd name="T24" fmla="*/ 840 w 907"/>
                <a:gd name="T25" fmla="*/ 0 h 907"/>
                <a:gd name="T26" fmla="*/ 907 w 907"/>
                <a:gd name="T27" fmla="*/ 67 h 907"/>
                <a:gd name="T28" fmla="*/ 907 w 907"/>
                <a:gd name="T29" fmla="*/ 907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07" h="907">
                  <a:moveTo>
                    <a:pt x="907" y="907"/>
                  </a:moveTo>
                  <a:cubicBezTo>
                    <a:pt x="0" y="907"/>
                    <a:pt x="0" y="907"/>
                    <a:pt x="0" y="907"/>
                  </a:cubicBezTo>
                  <a:cubicBezTo>
                    <a:pt x="0" y="794"/>
                    <a:pt x="0" y="794"/>
                    <a:pt x="0" y="794"/>
                  </a:cubicBezTo>
                  <a:cubicBezTo>
                    <a:pt x="14" y="794"/>
                    <a:pt x="14" y="794"/>
                    <a:pt x="14" y="794"/>
                  </a:cubicBezTo>
                  <a:cubicBezTo>
                    <a:pt x="14" y="894"/>
                    <a:pt x="14" y="894"/>
                    <a:pt x="14" y="894"/>
                  </a:cubicBezTo>
                  <a:cubicBezTo>
                    <a:pt x="893" y="894"/>
                    <a:pt x="893" y="894"/>
                    <a:pt x="893" y="894"/>
                  </a:cubicBezTo>
                  <a:cubicBezTo>
                    <a:pt x="893" y="67"/>
                    <a:pt x="893" y="67"/>
                    <a:pt x="893" y="67"/>
                  </a:cubicBezTo>
                  <a:cubicBezTo>
                    <a:pt x="893" y="38"/>
                    <a:pt x="869" y="14"/>
                    <a:pt x="840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40" y="0"/>
                    <a:pt x="840" y="0"/>
                    <a:pt x="840" y="0"/>
                  </a:cubicBezTo>
                  <a:cubicBezTo>
                    <a:pt x="877" y="0"/>
                    <a:pt x="907" y="30"/>
                    <a:pt x="907" y="67"/>
                  </a:cubicBezTo>
                  <a:lnTo>
                    <a:pt x="907" y="9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" name="Freeform 6"/>
            <p:cNvSpPr/>
            <p:nvPr/>
          </p:nvSpPr>
          <p:spPr bwMode="auto">
            <a:xfrm>
              <a:off x="-1604962" y="3225800"/>
              <a:ext cx="133350" cy="193675"/>
            </a:xfrm>
            <a:custGeom>
              <a:avLst/>
              <a:gdLst>
                <a:gd name="T0" fmla="*/ 69 w 71"/>
                <a:gd name="T1" fmla="*/ 11 h 103"/>
                <a:gd name="T2" fmla="*/ 42 w 71"/>
                <a:gd name="T3" fmla="*/ 11 h 103"/>
                <a:gd name="T4" fmla="*/ 42 w 71"/>
                <a:gd name="T5" fmla="*/ 100 h 103"/>
                <a:gd name="T6" fmla="*/ 39 w 71"/>
                <a:gd name="T7" fmla="*/ 103 h 103"/>
                <a:gd name="T8" fmla="*/ 32 w 71"/>
                <a:gd name="T9" fmla="*/ 103 h 103"/>
                <a:gd name="T10" fmla="*/ 29 w 71"/>
                <a:gd name="T11" fmla="*/ 100 h 103"/>
                <a:gd name="T12" fmla="*/ 29 w 71"/>
                <a:gd name="T13" fmla="*/ 11 h 103"/>
                <a:gd name="T14" fmla="*/ 2 w 71"/>
                <a:gd name="T15" fmla="*/ 11 h 103"/>
                <a:gd name="T16" fmla="*/ 0 w 71"/>
                <a:gd name="T17" fmla="*/ 9 h 103"/>
                <a:gd name="T18" fmla="*/ 0 w 71"/>
                <a:gd name="T19" fmla="*/ 2 h 103"/>
                <a:gd name="T20" fmla="*/ 2 w 71"/>
                <a:gd name="T21" fmla="*/ 0 h 103"/>
                <a:gd name="T22" fmla="*/ 69 w 71"/>
                <a:gd name="T23" fmla="*/ 0 h 103"/>
                <a:gd name="T24" fmla="*/ 71 w 71"/>
                <a:gd name="T25" fmla="*/ 2 h 103"/>
                <a:gd name="T26" fmla="*/ 71 w 71"/>
                <a:gd name="T27" fmla="*/ 9 h 103"/>
                <a:gd name="T28" fmla="*/ 69 w 71"/>
                <a:gd name="T29" fmla="*/ 1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103">
                  <a:moveTo>
                    <a:pt x="69" y="11"/>
                  </a:moveTo>
                  <a:cubicBezTo>
                    <a:pt x="42" y="11"/>
                    <a:pt x="42" y="11"/>
                    <a:pt x="42" y="11"/>
                  </a:cubicBezTo>
                  <a:cubicBezTo>
                    <a:pt x="42" y="100"/>
                    <a:pt x="42" y="100"/>
                    <a:pt x="42" y="100"/>
                  </a:cubicBezTo>
                  <a:cubicBezTo>
                    <a:pt x="42" y="101"/>
                    <a:pt x="41" y="103"/>
                    <a:pt x="39" y="103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0" y="103"/>
                    <a:pt x="29" y="101"/>
                    <a:pt x="29" y="100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0" y="10"/>
                    <a:pt x="0" y="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70" y="0"/>
                    <a:pt x="71" y="1"/>
                    <a:pt x="71" y="2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71" y="10"/>
                    <a:pt x="70" y="11"/>
                    <a:pt x="6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" name="Freeform 7"/>
            <p:cNvSpPr/>
            <p:nvPr/>
          </p:nvSpPr>
          <p:spPr bwMode="auto">
            <a:xfrm>
              <a:off x="-1443037" y="3224213"/>
              <a:ext cx="109538" cy="195262"/>
            </a:xfrm>
            <a:custGeom>
              <a:avLst/>
              <a:gdLst>
                <a:gd name="T0" fmla="*/ 55 w 58"/>
                <a:gd name="T1" fmla="*/ 104 h 104"/>
                <a:gd name="T2" fmla="*/ 48 w 58"/>
                <a:gd name="T3" fmla="*/ 104 h 104"/>
                <a:gd name="T4" fmla="*/ 46 w 58"/>
                <a:gd name="T5" fmla="*/ 101 h 104"/>
                <a:gd name="T6" fmla="*/ 46 w 58"/>
                <a:gd name="T7" fmla="*/ 55 h 104"/>
                <a:gd name="T8" fmla="*/ 31 w 58"/>
                <a:gd name="T9" fmla="*/ 37 h 104"/>
                <a:gd name="T10" fmla="*/ 12 w 58"/>
                <a:gd name="T11" fmla="*/ 41 h 104"/>
                <a:gd name="T12" fmla="*/ 12 w 58"/>
                <a:gd name="T13" fmla="*/ 101 h 104"/>
                <a:gd name="T14" fmla="*/ 9 w 58"/>
                <a:gd name="T15" fmla="*/ 104 h 104"/>
                <a:gd name="T16" fmla="*/ 2 w 58"/>
                <a:gd name="T17" fmla="*/ 104 h 104"/>
                <a:gd name="T18" fmla="*/ 0 w 58"/>
                <a:gd name="T19" fmla="*/ 101 h 104"/>
                <a:gd name="T20" fmla="*/ 0 w 58"/>
                <a:gd name="T21" fmla="*/ 2 h 104"/>
                <a:gd name="T22" fmla="*/ 2 w 58"/>
                <a:gd name="T23" fmla="*/ 0 h 104"/>
                <a:gd name="T24" fmla="*/ 9 w 58"/>
                <a:gd name="T25" fmla="*/ 0 h 104"/>
                <a:gd name="T26" fmla="*/ 12 w 58"/>
                <a:gd name="T27" fmla="*/ 2 h 104"/>
                <a:gd name="T28" fmla="*/ 12 w 58"/>
                <a:gd name="T29" fmla="*/ 31 h 104"/>
                <a:gd name="T30" fmla="*/ 33 w 58"/>
                <a:gd name="T31" fmla="*/ 27 h 104"/>
                <a:gd name="T32" fmla="*/ 58 w 58"/>
                <a:gd name="T33" fmla="*/ 55 h 104"/>
                <a:gd name="T34" fmla="*/ 58 w 58"/>
                <a:gd name="T35" fmla="*/ 101 h 104"/>
                <a:gd name="T36" fmla="*/ 55 w 58"/>
                <a:gd name="T3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" h="104">
                  <a:moveTo>
                    <a:pt x="55" y="104"/>
                  </a:moveTo>
                  <a:cubicBezTo>
                    <a:pt x="48" y="104"/>
                    <a:pt x="48" y="104"/>
                    <a:pt x="48" y="104"/>
                  </a:cubicBezTo>
                  <a:cubicBezTo>
                    <a:pt x="47" y="104"/>
                    <a:pt x="46" y="102"/>
                    <a:pt x="46" y="101"/>
                  </a:cubicBezTo>
                  <a:cubicBezTo>
                    <a:pt x="46" y="55"/>
                    <a:pt x="46" y="55"/>
                    <a:pt x="46" y="55"/>
                  </a:cubicBezTo>
                  <a:cubicBezTo>
                    <a:pt x="46" y="42"/>
                    <a:pt x="40" y="37"/>
                    <a:pt x="31" y="37"/>
                  </a:cubicBezTo>
                  <a:cubicBezTo>
                    <a:pt x="27" y="37"/>
                    <a:pt x="18" y="38"/>
                    <a:pt x="12" y="4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2"/>
                    <a:pt x="11" y="104"/>
                    <a:pt x="9" y="104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1" y="104"/>
                    <a:pt x="0" y="102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8" y="28"/>
                    <a:pt x="27" y="27"/>
                    <a:pt x="33" y="27"/>
                  </a:cubicBezTo>
                  <a:cubicBezTo>
                    <a:pt x="48" y="27"/>
                    <a:pt x="58" y="35"/>
                    <a:pt x="58" y="55"/>
                  </a:cubicBezTo>
                  <a:cubicBezTo>
                    <a:pt x="58" y="101"/>
                    <a:pt x="58" y="101"/>
                    <a:pt x="58" y="101"/>
                  </a:cubicBezTo>
                  <a:cubicBezTo>
                    <a:pt x="58" y="102"/>
                    <a:pt x="57" y="104"/>
                    <a:pt x="55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" name="Freeform 8"/>
            <p:cNvSpPr>
              <a:spLocks noEditPoints="1"/>
            </p:cNvSpPr>
            <p:nvPr/>
          </p:nvSpPr>
          <p:spPr bwMode="auto">
            <a:xfrm>
              <a:off x="-1304925" y="3275013"/>
              <a:ext cx="115888" cy="147637"/>
            </a:xfrm>
            <a:custGeom>
              <a:avLst/>
              <a:gdLst>
                <a:gd name="T0" fmla="*/ 59 w 61"/>
                <a:gd name="T1" fmla="*/ 42 h 78"/>
                <a:gd name="T2" fmla="*/ 12 w 61"/>
                <a:gd name="T3" fmla="*/ 42 h 78"/>
                <a:gd name="T4" fmla="*/ 12 w 61"/>
                <a:gd name="T5" fmla="*/ 44 h 78"/>
                <a:gd name="T6" fmla="*/ 32 w 61"/>
                <a:gd name="T7" fmla="*/ 67 h 78"/>
                <a:gd name="T8" fmla="*/ 56 w 61"/>
                <a:gd name="T9" fmla="*/ 65 h 78"/>
                <a:gd name="T10" fmla="*/ 57 w 61"/>
                <a:gd name="T11" fmla="*/ 65 h 78"/>
                <a:gd name="T12" fmla="*/ 59 w 61"/>
                <a:gd name="T13" fmla="*/ 67 h 78"/>
                <a:gd name="T14" fmla="*/ 59 w 61"/>
                <a:gd name="T15" fmla="*/ 72 h 78"/>
                <a:gd name="T16" fmla="*/ 56 w 61"/>
                <a:gd name="T17" fmla="*/ 75 h 78"/>
                <a:gd name="T18" fmla="*/ 32 w 61"/>
                <a:gd name="T19" fmla="*/ 78 h 78"/>
                <a:gd name="T20" fmla="*/ 0 w 61"/>
                <a:gd name="T21" fmla="*/ 44 h 78"/>
                <a:gd name="T22" fmla="*/ 0 w 61"/>
                <a:gd name="T23" fmla="*/ 32 h 78"/>
                <a:gd name="T24" fmla="*/ 31 w 61"/>
                <a:gd name="T25" fmla="*/ 0 h 78"/>
                <a:gd name="T26" fmla="*/ 61 w 61"/>
                <a:gd name="T27" fmla="*/ 32 h 78"/>
                <a:gd name="T28" fmla="*/ 61 w 61"/>
                <a:gd name="T29" fmla="*/ 39 h 78"/>
                <a:gd name="T30" fmla="*/ 59 w 61"/>
                <a:gd name="T31" fmla="*/ 42 h 78"/>
                <a:gd name="T32" fmla="*/ 49 w 61"/>
                <a:gd name="T33" fmla="*/ 32 h 78"/>
                <a:gd name="T34" fmla="*/ 31 w 61"/>
                <a:gd name="T35" fmla="*/ 10 h 78"/>
                <a:gd name="T36" fmla="*/ 12 w 61"/>
                <a:gd name="T37" fmla="*/ 32 h 78"/>
                <a:gd name="T38" fmla="*/ 12 w 61"/>
                <a:gd name="T39" fmla="*/ 33 h 78"/>
                <a:gd name="T40" fmla="*/ 49 w 61"/>
                <a:gd name="T41" fmla="*/ 33 h 78"/>
                <a:gd name="T42" fmla="*/ 49 w 61"/>
                <a:gd name="T43" fmla="*/ 3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1" h="78">
                  <a:moveTo>
                    <a:pt x="59" y="42"/>
                  </a:moveTo>
                  <a:cubicBezTo>
                    <a:pt x="12" y="42"/>
                    <a:pt x="12" y="42"/>
                    <a:pt x="12" y="42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61"/>
                    <a:pt x="19" y="67"/>
                    <a:pt x="32" y="67"/>
                  </a:cubicBezTo>
                  <a:cubicBezTo>
                    <a:pt x="40" y="67"/>
                    <a:pt x="50" y="66"/>
                    <a:pt x="56" y="65"/>
                  </a:cubicBezTo>
                  <a:cubicBezTo>
                    <a:pt x="56" y="65"/>
                    <a:pt x="57" y="65"/>
                    <a:pt x="57" y="65"/>
                  </a:cubicBezTo>
                  <a:cubicBezTo>
                    <a:pt x="58" y="65"/>
                    <a:pt x="59" y="66"/>
                    <a:pt x="59" y="67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4"/>
                    <a:pt x="58" y="75"/>
                    <a:pt x="56" y="75"/>
                  </a:cubicBezTo>
                  <a:cubicBezTo>
                    <a:pt x="48" y="77"/>
                    <a:pt x="41" y="78"/>
                    <a:pt x="32" y="78"/>
                  </a:cubicBezTo>
                  <a:cubicBezTo>
                    <a:pt x="16" y="78"/>
                    <a:pt x="0" y="70"/>
                    <a:pt x="0" y="4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2"/>
                    <a:pt x="11" y="0"/>
                    <a:pt x="31" y="0"/>
                  </a:cubicBezTo>
                  <a:cubicBezTo>
                    <a:pt x="51" y="0"/>
                    <a:pt x="61" y="12"/>
                    <a:pt x="61" y="32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41"/>
                    <a:pt x="60" y="42"/>
                    <a:pt x="59" y="42"/>
                  </a:cubicBezTo>
                  <a:close/>
                  <a:moveTo>
                    <a:pt x="49" y="32"/>
                  </a:moveTo>
                  <a:cubicBezTo>
                    <a:pt x="49" y="16"/>
                    <a:pt x="43" y="10"/>
                    <a:pt x="31" y="10"/>
                  </a:cubicBezTo>
                  <a:cubicBezTo>
                    <a:pt x="19" y="10"/>
                    <a:pt x="12" y="17"/>
                    <a:pt x="12" y="3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49" y="33"/>
                    <a:pt x="49" y="33"/>
                    <a:pt x="49" y="33"/>
                  </a:cubicBezTo>
                  <a:lnTo>
                    <a:pt x="49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" name="Freeform 9"/>
            <p:cNvSpPr/>
            <p:nvPr/>
          </p:nvSpPr>
          <p:spPr bwMode="auto">
            <a:xfrm>
              <a:off x="-1092200" y="3225800"/>
              <a:ext cx="158750" cy="193675"/>
            </a:xfrm>
            <a:custGeom>
              <a:avLst/>
              <a:gdLst>
                <a:gd name="T0" fmla="*/ 81 w 84"/>
                <a:gd name="T1" fmla="*/ 103 h 103"/>
                <a:gd name="T2" fmla="*/ 75 w 84"/>
                <a:gd name="T3" fmla="*/ 103 h 103"/>
                <a:gd name="T4" fmla="*/ 72 w 84"/>
                <a:gd name="T5" fmla="*/ 100 h 103"/>
                <a:gd name="T6" fmla="*/ 72 w 84"/>
                <a:gd name="T7" fmla="*/ 18 h 103"/>
                <a:gd name="T8" fmla="*/ 72 w 84"/>
                <a:gd name="T9" fmla="*/ 17 h 103"/>
                <a:gd name="T10" fmla="*/ 71 w 84"/>
                <a:gd name="T11" fmla="*/ 18 h 103"/>
                <a:gd name="T12" fmla="*/ 52 w 84"/>
                <a:gd name="T13" fmla="*/ 59 h 103"/>
                <a:gd name="T14" fmla="*/ 45 w 84"/>
                <a:gd name="T15" fmla="*/ 63 h 103"/>
                <a:gd name="T16" fmla="*/ 39 w 84"/>
                <a:gd name="T17" fmla="*/ 63 h 103"/>
                <a:gd name="T18" fmla="*/ 33 w 84"/>
                <a:gd name="T19" fmla="*/ 59 h 103"/>
                <a:gd name="T20" fmla="*/ 13 w 84"/>
                <a:gd name="T21" fmla="*/ 18 h 103"/>
                <a:gd name="T22" fmla="*/ 13 w 84"/>
                <a:gd name="T23" fmla="*/ 17 h 103"/>
                <a:gd name="T24" fmla="*/ 13 w 84"/>
                <a:gd name="T25" fmla="*/ 18 h 103"/>
                <a:gd name="T26" fmla="*/ 13 w 84"/>
                <a:gd name="T27" fmla="*/ 100 h 103"/>
                <a:gd name="T28" fmla="*/ 10 w 84"/>
                <a:gd name="T29" fmla="*/ 103 h 103"/>
                <a:gd name="T30" fmla="*/ 3 w 84"/>
                <a:gd name="T31" fmla="*/ 103 h 103"/>
                <a:gd name="T32" fmla="*/ 0 w 84"/>
                <a:gd name="T33" fmla="*/ 100 h 103"/>
                <a:gd name="T34" fmla="*/ 0 w 84"/>
                <a:gd name="T35" fmla="*/ 4 h 103"/>
                <a:gd name="T36" fmla="*/ 4 w 84"/>
                <a:gd name="T37" fmla="*/ 0 h 103"/>
                <a:gd name="T38" fmla="*/ 13 w 84"/>
                <a:gd name="T39" fmla="*/ 0 h 103"/>
                <a:gd name="T40" fmla="*/ 18 w 84"/>
                <a:gd name="T41" fmla="*/ 2 h 103"/>
                <a:gd name="T42" fmla="*/ 41 w 84"/>
                <a:gd name="T43" fmla="*/ 50 h 103"/>
                <a:gd name="T44" fmla="*/ 42 w 84"/>
                <a:gd name="T45" fmla="*/ 51 h 103"/>
                <a:gd name="T46" fmla="*/ 44 w 84"/>
                <a:gd name="T47" fmla="*/ 50 h 103"/>
                <a:gd name="T48" fmla="*/ 67 w 84"/>
                <a:gd name="T49" fmla="*/ 2 h 103"/>
                <a:gd name="T50" fmla="*/ 71 w 84"/>
                <a:gd name="T51" fmla="*/ 0 h 103"/>
                <a:gd name="T52" fmla="*/ 80 w 84"/>
                <a:gd name="T53" fmla="*/ 0 h 103"/>
                <a:gd name="T54" fmla="*/ 84 w 84"/>
                <a:gd name="T55" fmla="*/ 4 h 103"/>
                <a:gd name="T56" fmla="*/ 84 w 84"/>
                <a:gd name="T57" fmla="*/ 100 h 103"/>
                <a:gd name="T58" fmla="*/ 81 w 84"/>
                <a:gd name="T5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4" h="103">
                  <a:moveTo>
                    <a:pt x="81" y="103"/>
                  </a:moveTo>
                  <a:cubicBezTo>
                    <a:pt x="75" y="103"/>
                    <a:pt x="75" y="103"/>
                    <a:pt x="75" y="103"/>
                  </a:cubicBezTo>
                  <a:cubicBezTo>
                    <a:pt x="73" y="103"/>
                    <a:pt x="72" y="101"/>
                    <a:pt x="72" y="100"/>
                  </a:cubicBezTo>
                  <a:cubicBezTo>
                    <a:pt x="72" y="18"/>
                    <a:pt x="72" y="18"/>
                    <a:pt x="72" y="18"/>
                  </a:cubicBezTo>
                  <a:cubicBezTo>
                    <a:pt x="72" y="18"/>
                    <a:pt x="72" y="17"/>
                    <a:pt x="72" y="17"/>
                  </a:cubicBezTo>
                  <a:cubicBezTo>
                    <a:pt x="71" y="17"/>
                    <a:pt x="71" y="17"/>
                    <a:pt x="71" y="18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0" y="61"/>
                    <a:pt x="49" y="63"/>
                    <a:pt x="45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6" y="63"/>
                    <a:pt x="34" y="61"/>
                    <a:pt x="33" y="59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8"/>
                    <a:pt x="13" y="18"/>
                  </a:cubicBezTo>
                  <a:cubicBezTo>
                    <a:pt x="13" y="100"/>
                    <a:pt x="13" y="100"/>
                    <a:pt x="13" y="100"/>
                  </a:cubicBezTo>
                  <a:cubicBezTo>
                    <a:pt x="13" y="101"/>
                    <a:pt x="11" y="103"/>
                    <a:pt x="10" y="103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2" y="103"/>
                    <a:pt x="0" y="101"/>
                    <a:pt x="0" y="10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7" y="1"/>
                    <a:pt x="18" y="2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1"/>
                    <a:pt x="41" y="51"/>
                    <a:pt x="42" y="51"/>
                  </a:cubicBezTo>
                  <a:cubicBezTo>
                    <a:pt x="43" y="51"/>
                    <a:pt x="43" y="51"/>
                    <a:pt x="44" y="50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1"/>
                    <a:pt x="69" y="0"/>
                    <a:pt x="71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2" y="0"/>
                    <a:pt x="84" y="2"/>
                    <a:pt x="84" y="4"/>
                  </a:cubicBezTo>
                  <a:cubicBezTo>
                    <a:pt x="84" y="100"/>
                    <a:pt x="84" y="100"/>
                    <a:pt x="84" y="100"/>
                  </a:cubicBezTo>
                  <a:cubicBezTo>
                    <a:pt x="84" y="101"/>
                    <a:pt x="83" y="103"/>
                    <a:pt x="81" y="1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" name="Freeform 10"/>
            <p:cNvSpPr>
              <a:spLocks noEditPoints="1"/>
            </p:cNvSpPr>
            <p:nvPr/>
          </p:nvSpPr>
          <p:spPr bwMode="auto">
            <a:xfrm>
              <a:off x="-901700" y="3275013"/>
              <a:ext cx="104775" cy="147637"/>
            </a:xfrm>
            <a:custGeom>
              <a:avLst/>
              <a:gdLst>
                <a:gd name="T0" fmla="*/ 53 w 56"/>
                <a:gd name="T1" fmla="*/ 77 h 78"/>
                <a:gd name="T2" fmla="*/ 47 w 56"/>
                <a:gd name="T3" fmla="*/ 77 h 78"/>
                <a:gd name="T4" fmla="*/ 44 w 56"/>
                <a:gd name="T5" fmla="*/ 74 h 78"/>
                <a:gd name="T6" fmla="*/ 44 w 56"/>
                <a:gd name="T7" fmla="*/ 71 h 78"/>
                <a:gd name="T8" fmla="*/ 23 w 56"/>
                <a:gd name="T9" fmla="*/ 78 h 78"/>
                <a:gd name="T10" fmla="*/ 0 w 56"/>
                <a:gd name="T11" fmla="*/ 55 h 78"/>
                <a:gd name="T12" fmla="*/ 0 w 56"/>
                <a:gd name="T13" fmla="*/ 54 h 78"/>
                <a:gd name="T14" fmla="*/ 34 w 56"/>
                <a:gd name="T15" fmla="*/ 31 h 78"/>
                <a:gd name="T16" fmla="*/ 44 w 56"/>
                <a:gd name="T17" fmla="*/ 31 h 78"/>
                <a:gd name="T18" fmla="*/ 44 w 56"/>
                <a:gd name="T19" fmla="*/ 26 h 78"/>
                <a:gd name="T20" fmla="*/ 29 w 56"/>
                <a:gd name="T21" fmla="*/ 10 h 78"/>
                <a:gd name="T22" fmla="*/ 8 w 56"/>
                <a:gd name="T23" fmla="*/ 11 h 78"/>
                <a:gd name="T24" fmla="*/ 7 w 56"/>
                <a:gd name="T25" fmla="*/ 11 h 78"/>
                <a:gd name="T26" fmla="*/ 5 w 56"/>
                <a:gd name="T27" fmla="*/ 9 h 78"/>
                <a:gd name="T28" fmla="*/ 5 w 56"/>
                <a:gd name="T29" fmla="*/ 4 h 78"/>
                <a:gd name="T30" fmla="*/ 8 w 56"/>
                <a:gd name="T31" fmla="*/ 1 h 78"/>
                <a:gd name="T32" fmla="*/ 29 w 56"/>
                <a:gd name="T33" fmla="*/ 0 h 78"/>
                <a:gd name="T34" fmla="*/ 56 w 56"/>
                <a:gd name="T35" fmla="*/ 26 h 78"/>
                <a:gd name="T36" fmla="*/ 56 w 56"/>
                <a:gd name="T37" fmla="*/ 74 h 78"/>
                <a:gd name="T38" fmla="*/ 53 w 56"/>
                <a:gd name="T39" fmla="*/ 77 h 78"/>
                <a:gd name="T40" fmla="*/ 44 w 56"/>
                <a:gd name="T41" fmla="*/ 40 h 78"/>
                <a:gd name="T42" fmla="*/ 34 w 56"/>
                <a:gd name="T43" fmla="*/ 40 h 78"/>
                <a:gd name="T44" fmla="*/ 12 w 56"/>
                <a:gd name="T45" fmla="*/ 53 h 78"/>
                <a:gd name="T46" fmla="*/ 12 w 56"/>
                <a:gd name="T47" fmla="*/ 55 h 78"/>
                <a:gd name="T48" fmla="*/ 25 w 56"/>
                <a:gd name="T49" fmla="*/ 68 h 78"/>
                <a:gd name="T50" fmla="*/ 44 w 56"/>
                <a:gd name="T51" fmla="*/ 62 h 78"/>
                <a:gd name="T52" fmla="*/ 44 w 56"/>
                <a:gd name="T53" fmla="*/ 4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6" h="78">
                  <a:moveTo>
                    <a:pt x="53" y="77"/>
                  </a:moveTo>
                  <a:cubicBezTo>
                    <a:pt x="47" y="77"/>
                    <a:pt x="47" y="77"/>
                    <a:pt x="47" y="77"/>
                  </a:cubicBezTo>
                  <a:cubicBezTo>
                    <a:pt x="45" y="77"/>
                    <a:pt x="44" y="75"/>
                    <a:pt x="44" y="74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37" y="75"/>
                    <a:pt x="31" y="78"/>
                    <a:pt x="23" y="78"/>
                  </a:cubicBezTo>
                  <a:cubicBezTo>
                    <a:pt x="11" y="78"/>
                    <a:pt x="0" y="72"/>
                    <a:pt x="0" y="5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39"/>
                    <a:pt x="9" y="31"/>
                    <a:pt x="3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14"/>
                    <a:pt x="40" y="10"/>
                    <a:pt x="29" y="10"/>
                  </a:cubicBezTo>
                  <a:cubicBezTo>
                    <a:pt x="20" y="10"/>
                    <a:pt x="13" y="11"/>
                    <a:pt x="8" y="11"/>
                  </a:cubicBezTo>
                  <a:cubicBezTo>
                    <a:pt x="8" y="11"/>
                    <a:pt x="8" y="11"/>
                    <a:pt x="7" y="11"/>
                  </a:cubicBezTo>
                  <a:cubicBezTo>
                    <a:pt x="6" y="11"/>
                    <a:pt x="5" y="11"/>
                    <a:pt x="5" y="9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8" y="1"/>
                  </a:cubicBezTo>
                  <a:cubicBezTo>
                    <a:pt x="13" y="0"/>
                    <a:pt x="20" y="0"/>
                    <a:pt x="29" y="0"/>
                  </a:cubicBezTo>
                  <a:cubicBezTo>
                    <a:pt x="48" y="0"/>
                    <a:pt x="56" y="9"/>
                    <a:pt x="56" y="26"/>
                  </a:cubicBezTo>
                  <a:cubicBezTo>
                    <a:pt x="56" y="74"/>
                    <a:pt x="56" y="74"/>
                    <a:pt x="56" y="74"/>
                  </a:cubicBezTo>
                  <a:cubicBezTo>
                    <a:pt x="56" y="75"/>
                    <a:pt x="55" y="77"/>
                    <a:pt x="53" y="77"/>
                  </a:cubicBezTo>
                  <a:close/>
                  <a:moveTo>
                    <a:pt x="44" y="40"/>
                  </a:moveTo>
                  <a:cubicBezTo>
                    <a:pt x="34" y="40"/>
                    <a:pt x="34" y="40"/>
                    <a:pt x="34" y="40"/>
                  </a:cubicBezTo>
                  <a:cubicBezTo>
                    <a:pt x="17" y="40"/>
                    <a:pt x="12" y="44"/>
                    <a:pt x="12" y="53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65"/>
                    <a:pt x="17" y="68"/>
                    <a:pt x="25" y="68"/>
                  </a:cubicBezTo>
                  <a:cubicBezTo>
                    <a:pt x="32" y="68"/>
                    <a:pt x="37" y="66"/>
                    <a:pt x="44" y="62"/>
                  </a:cubicBezTo>
                  <a:lnTo>
                    <a:pt x="4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" name="Freeform 11"/>
            <p:cNvSpPr>
              <a:spLocks noEditPoints="1"/>
            </p:cNvSpPr>
            <p:nvPr/>
          </p:nvSpPr>
          <p:spPr bwMode="auto">
            <a:xfrm>
              <a:off x="-763587" y="3276600"/>
              <a:ext cx="122238" cy="193675"/>
            </a:xfrm>
            <a:custGeom>
              <a:avLst/>
              <a:gdLst>
                <a:gd name="T0" fmla="*/ 62 w 65"/>
                <a:gd name="T1" fmla="*/ 9 h 103"/>
                <a:gd name="T2" fmla="*/ 57 w 65"/>
                <a:gd name="T3" fmla="*/ 10 h 103"/>
                <a:gd name="T4" fmla="*/ 62 w 65"/>
                <a:gd name="T5" fmla="*/ 24 h 103"/>
                <a:gd name="T6" fmla="*/ 62 w 65"/>
                <a:gd name="T7" fmla="*/ 25 h 103"/>
                <a:gd name="T8" fmla="*/ 31 w 65"/>
                <a:gd name="T9" fmla="*/ 49 h 103"/>
                <a:gd name="T10" fmla="*/ 15 w 65"/>
                <a:gd name="T11" fmla="*/ 46 h 103"/>
                <a:gd name="T12" fmla="*/ 12 w 65"/>
                <a:gd name="T13" fmla="*/ 51 h 103"/>
                <a:gd name="T14" fmla="*/ 16 w 65"/>
                <a:gd name="T15" fmla="*/ 55 h 103"/>
                <a:gd name="T16" fmla="*/ 37 w 65"/>
                <a:gd name="T17" fmla="*/ 60 h 103"/>
                <a:gd name="T18" fmla="*/ 63 w 65"/>
                <a:gd name="T19" fmla="*/ 81 h 103"/>
                <a:gd name="T20" fmla="*/ 63 w 65"/>
                <a:gd name="T21" fmla="*/ 82 h 103"/>
                <a:gd name="T22" fmla="*/ 32 w 65"/>
                <a:gd name="T23" fmla="*/ 103 h 103"/>
                <a:gd name="T24" fmla="*/ 0 w 65"/>
                <a:gd name="T25" fmla="*/ 81 h 103"/>
                <a:gd name="T26" fmla="*/ 0 w 65"/>
                <a:gd name="T27" fmla="*/ 80 h 103"/>
                <a:gd name="T28" fmla="*/ 9 w 65"/>
                <a:gd name="T29" fmla="*/ 62 h 103"/>
                <a:gd name="T30" fmla="*/ 8 w 65"/>
                <a:gd name="T31" fmla="*/ 62 h 103"/>
                <a:gd name="T32" fmla="*/ 1 w 65"/>
                <a:gd name="T33" fmla="*/ 51 h 103"/>
                <a:gd name="T34" fmla="*/ 1 w 65"/>
                <a:gd name="T35" fmla="*/ 51 h 103"/>
                <a:gd name="T36" fmla="*/ 7 w 65"/>
                <a:gd name="T37" fmla="*/ 41 h 103"/>
                <a:gd name="T38" fmla="*/ 1 w 65"/>
                <a:gd name="T39" fmla="*/ 25 h 103"/>
                <a:gd name="T40" fmla="*/ 1 w 65"/>
                <a:gd name="T41" fmla="*/ 24 h 103"/>
                <a:gd name="T42" fmla="*/ 31 w 65"/>
                <a:gd name="T43" fmla="*/ 0 h 103"/>
                <a:gd name="T44" fmla="*/ 61 w 65"/>
                <a:gd name="T45" fmla="*/ 0 h 103"/>
                <a:gd name="T46" fmla="*/ 65 w 65"/>
                <a:gd name="T47" fmla="*/ 3 h 103"/>
                <a:gd name="T48" fmla="*/ 65 w 65"/>
                <a:gd name="T49" fmla="*/ 6 h 103"/>
                <a:gd name="T50" fmla="*/ 62 w 65"/>
                <a:gd name="T51" fmla="*/ 9 h 103"/>
                <a:gd name="T52" fmla="*/ 51 w 65"/>
                <a:gd name="T53" fmla="*/ 81 h 103"/>
                <a:gd name="T54" fmla="*/ 34 w 65"/>
                <a:gd name="T55" fmla="*/ 70 h 103"/>
                <a:gd name="T56" fmla="*/ 19 w 65"/>
                <a:gd name="T57" fmla="*/ 66 h 103"/>
                <a:gd name="T58" fmla="*/ 12 w 65"/>
                <a:gd name="T59" fmla="*/ 80 h 103"/>
                <a:gd name="T60" fmla="*/ 12 w 65"/>
                <a:gd name="T61" fmla="*/ 81 h 103"/>
                <a:gd name="T62" fmla="*/ 32 w 65"/>
                <a:gd name="T63" fmla="*/ 94 h 103"/>
                <a:gd name="T64" fmla="*/ 51 w 65"/>
                <a:gd name="T65" fmla="*/ 82 h 103"/>
                <a:gd name="T66" fmla="*/ 51 w 65"/>
                <a:gd name="T67" fmla="*/ 81 h 103"/>
                <a:gd name="T68" fmla="*/ 50 w 65"/>
                <a:gd name="T69" fmla="*/ 24 h 103"/>
                <a:gd name="T70" fmla="*/ 31 w 65"/>
                <a:gd name="T71" fmla="*/ 9 h 103"/>
                <a:gd name="T72" fmla="*/ 13 w 65"/>
                <a:gd name="T73" fmla="*/ 24 h 103"/>
                <a:gd name="T74" fmla="*/ 13 w 65"/>
                <a:gd name="T75" fmla="*/ 25 h 103"/>
                <a:gd name="T76" fmla="*/ 31 w 65"/>
                <a:gd name="T77" fmla="*/ 39 h 103"/>
                <a:gd name="T78" fmla="*/ 50 w 65"/>
                <a:gd name="T79" fmla="*/ 25 h 103"/>
                <a:gd name="T80" fmla="*/ 50 w 65"/>
                <a:gd name="T81" fmla="*/ 2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" h="103">
                  <a:moveTo>
                    <a:pt x="62" y="9"/>
                  </a:moveTo>
                  <a:cubicBezTo>
                    <a:pt x="57" y="10"/>
                    <a:pt x="57" y="10"/>
                    <a:pt x="57" y="10"/>
                  </a:cubicBezTo>
                  <a:cubicBezTo>
                    <a:pt x="60" y="12"/>
                    <a:pt x="62" y="17"/>
                    <a:pt x="62" y="24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40"/>
                    <a:pt x="52" y="49"/>
                    <a:pt x="31" y="49"/>
                  </a:cubicBezTo>
                  <a:cubicBezTo>
                    <a:pt x="24" y="49"/>
                    <a:pt x="19" y="48"/>
                    <a:pt x="15" y="46"/>
                  </a:cubicBezTo>
                  <a:cubicBezTo>
                    <a:pt x="13" y="47"/>
                    <a:pt x="12" y="49"/>
                    <a:pt x="12" y="51"/>
                  </a:cubicBezTo>
                  <a:cubicBezTo>
                    <a:pt x="12" y="53"/>
                    <a:pt x="13" y="54"/>
                    <a:pt x="16" y="55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50" y="64"/>
                    <a:pt x="63" y="68"/>
                    <a:pt x="63" y="81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95"/>
                    <a:pt x="54" y="103"/>
                    <a:pt x="32" y="103"/>
                  </a:cubicBezTo>
                  <a:cubicBezTo>
                    <a:pt x="10" y="103"/>
                    <a:pt x="0" y="9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72"/>
                    <a:pt x="4" y="66"/>
                    <a:pt x="9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3" y="60"/>
                    <a:pt x="1" y="56"/>
                    <a:pt x="1" y="51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1" y="47"/>
                    <a:pt x="3" y="43"/>
                    <a:pt x="7" y="41"/>
                  </a:cubicBezTo>
                  <a:cubicBezTo>
                    <a:pt x="3" y="37"/>
                    <a:pt x="1" y="32"/>
                    <a:pt x="1" y="25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12"/>
                    <a:pt x="7" y="0"/>
                    <a:pt x="31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5" y="1"/>
                    <a:pt x="65" y="3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8"/>
                    <a:pt x="64" y="9"/>
                    <a:pt x="62" y="9"/>
                  </a:cubicBezTo>
                  <a:close/>
                  <a:moveTo>
                    <a:pt x="51" y="81"/>
                  </a:moveTo>
                  <a:cubicBezTo>
                    <a:pt x="51" y="75"/>
                    <a:pt x="47" y="73"/>
                    <a:pt x="34" y="7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5" y="69"/>
                    <a:pt x="12" y="73"/>
                    <a:pt x="12" y="80"/>
                  </a:cubicBezTo>
                  <a:cubicBezTo>
                    <a:pt x="12" y="81"/>
                    <a:pt x="12" y="81"/>
                    <a:pt x="12" y="81"/>
                  </a:cubicBezTo>
                  <a:cubicBezTo>
                    <a:pt x="12" y="89"/>
                    <a:pt x="16" y="94"/>
                    <a:pt x="32" y="94"/>
                  </a:cubicBezTo>
                  <a:cubicBezTo>
                    <a:pt x="47" y="94"/>
                    <a:pt x="51" y="89"/>
                    <a:pt x="51" y="82"/>
                  </a:cubicBezTo>
                  <a:lnTo>
                    <a:pt x="51" y="81"/>
                  </a:lnTo>
                  <a:close/>
                  <a:moveTo>
                    <a:pt x="50" y="24"/>
                  </a:moveTo>
                  <a:cubicBezTo>
                    <a:pt x="50" y="16"/>
                    <a:pt x="46" y="9"/>
                    <a:pt x="31" y="9"/>
                  </a:cubicBezTo>
                  <a:cubicBezTo>
                    <a:pt x="16" y="9"/>
                    <a:pt x="13" y="16"/>
                    <a:pt x="13" y="24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31"/>
                    <a:pt x="15" y="39"/>
                    <a:pt x="31" y="39"/>
                  </a:cubicBezTo>
                  <a:cubicBezTo>
                    <a:pt x="46" y="39"/>
                    <a:pt x="50" y="33"/>
                    <a:pt x="50" y="25"/>
                  </a:cubicBezTo>
                  <a:lnTo>
                    <a:pt x="5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" name="Freeform 12"/>
            <p:cNvSpPr>
              <a:spLocks noEditPoints="1"/>
            </p:cNvSpPr>
            <p:nvPr/>
          </p:nvSpPr>
          <p:spPr bwMode="auto">
            <a:xfrm>
              <a:off x="-614362" y="3222625"/>
              <a:ext cx="25400" cy="196850"/>
            </a:xfrm>
            <a:custGeom>
              <a:avLst/>
              <a:gdLst>
                <a:gd name="T0" fmla="*/ 10 w 13"/>
                <a:gd name="T1" fmla="*/ 16 h 105"/>
                <a:gd name="T2" fmla="*/ 3 w 13"/>
                <a:gd name="T3" fmla="*/ 16 h 105"/>
                <a:gd name="T4" fmla="*/ 0 w 13"/>
                <a:gd name="T5" fmla="*/ 14 h 105"/>
                <a:gd name="T6" fmla="*/ 0 w 13"/>
                <a:gd name="T7" fmla="*/ 3 h 105"/>
                <a:gd name="T8" fmla="*/ 3 w 13"/>
                <a:gd name="T9" fmla="*/ 0 h 105"/>
                <a:gd name="T10" fmla="*/ 10 w 13"/>
                <a:gd name="T11" fmla="*/ 0 h 105"/>
                <a:gd name="T12" fmla="*/ 13 w 13"/>
                <a:gd name="T13" fmla="*/ 3 h 105"/>
                <a:gd name="T14" fmla="*/ 13 w 13"/>
                <a:gd name="T15" fmla="*/ 14 h 105"/>
                <a:gd name="T16" fmla="*/ 10 w 13"/>
                <a:gd name="T17" fmla="*/ 16 h 105"/>
                <a:gd name="T18" fmla="*/ 10 w 13"/>
                <a:gd name="T19" fmla="*/ 105 h 105"/>
                <a:gd name="T20" fmla="*/ 3 w 13"/>
                <a:gd name="T21" fmla="*/ 105 h 105"/>
                <a:gd name="T22" fmla="*/ 1 w 13"/>
                <a:gd name="T23" fmla="*/ 102 h 105"/>
                <a:gd name="T24" fmla="*/ 1 w 13"/>
                <a:gd name="T25" fmla="*/ 31 h 105"/>
                <a:gd name="T26" fmla="*/ 3 w 13"/>
                <a:gd name="T27" fmla="*/ 29 h 105"/>
                <a:gd name="T28" fmla="*/ 10 w 13"/>
                <a:gd name="T29" fmla="*/ 29 h 105"/>
                <a:gd name="T30" fmla="*/ 13 w 13"/>
                <a:gd name="T31" fmla="*/ 31 h 105"/>
                <a:gd name="T32" fmla="*/ 13 w 13"/>
                <a:gd name="T33" fmla="*/ 102 h 105"/>
                <a:gd name="T34" fmla="*/ 10 w 13"/>
                <a:gd name="T3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" h="105">
                  <a:moveTo>
                    <a:pt x="10" y="16"/>
                  </a:moveTo>
                  <a:cubicBezTo>
                    <a:pt x="3" y="16"/>
                    <a:pt x="3" y="16"/>
                    <a:pt x="3" y="16"/>
                  </a:cubicBezTo>
                  <a:cubicBezTo>
                    <a:pt x="2" y="16"/>
                    <a:pt x="0" y="15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3" y="1"/>
                    <a:pt x="13" y="3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2" y="16"/>
                    <a:pt x="10" y="16"/>
                  </a:cubicBezTo>
                  <a:close/>
                  <a:moveTo>
                    <a:pt x="10" y="105"/>
                  </a:moveTo>
                  <a:cubicBezTo>
                    <a:pt x="3" y="105"/>
                    <a:pt x="3" y="105"/>
                    <a:pt x="3" y="105"/>
                  </a:cubicBezTo>
                  <a:cubicBezTo>
                    <a:pt x="2" y="105"/>
                    <a:pt x="1" y="103"/>
                    <a:pt x="1" y="102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0"/>
                    <a:pt x="2" y="29"/>
                    <a:pt x="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1" y="29"/>
                    <a:pt x="13" y="30"/>
                    <a:pt x="13" y="31"/>
                  </a:cubicBezTo>
                  <a:cubicBezTo>
                    <a:pt x="13" y="102"/>
                    <a:pt x="13" y="102"/>
                    <a:pt x="13" y="102"/>
                  </a:cubicBezTo>
                  <a:cubicBezTo>
                    <a:pt x="13" y="103"/>
                    <a:pt x="11" y="105"/>
                    <a:pt x="10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" name="Freeform 13"/>
            <p:cNvSpPr/>
            <p:nvPr/>
          </p:nvSpPr>
          <p:spPr bwMode="auto">
            <a:xfrm>
              <a:off x="-555625" y="3275013"/>
              <a:ext cx="92075" cy="147637"/>
            </a:xfrm>
            <a:custGeom>
              <a:avLst/>
              <a:gdLst>
                <a:gd name="T0" fmla="*/ 46 w 49"/>
                <a:gd name="T1" fmla="*/ 76 h 78"/>
                <a:gd name="T2" fmla="*/ 29 w 49"/>
                <a:gd name="T3" fmla="*/ 78 h 78"/>
                <a:gd name="T4" fmla="*/ 0 w 49"/>
                <a:gd name="T5" fmla="*/ 44 h 78"/>
                <a:gd name="T6" fmla="*/ 0 w 49"/>
                <a:gd name="T7" fmla="*/ 33 h 78"/>
                <a:gd name="T8" fmla="*/ 29 w 49"/>
                <a:gd name="T9" fmla="*/ 0 h 78"/>
                <a:gd name="T10" fmla="*/ 46 w 49"/>
                <a:gd name="T11" fmla="*/ 1 h 78"/>
                <a:gd name="T12" fmla="*/ 49 w 49"/>
                <a:gd name="T13" fmla="*/ 4 h 78"/>
                <a:gd name="T14" fmla="*/ 49 w 49"/>
                <a:gd name="T15" fmla="*/ 9 h 78"/>
                <a:gd name="T16" fmla="*/ 47 w 49"/>
                <a:gd name="T17" fmla="*/ 11 h 78"/>
                <a:gd name="T18" fmla="*/ 46 w 49"/>
                <a:gd name="T19" fmla="*/ 11 h 78"/>
                <a:gd name="T20" fmla="*/ 29 w 49"/>
                <a:gd name="T21" fmla="*/ 10 h 78"/>
                <a:gd name="T22" fmla="*/ 12 w 49"/>
                <a:gd name="T23" fmla="*/ 33 h 78"/>
                <a:gd name="T24" fmla="*/ 12 w 49"/>
                <a:gd name="T25" fmla="*/ 44 h 78"/>
                <a:gd name="T26" fmla="*/ 29 w 49"/>
                <a:gd name="T27" fmla="*/ 67 h 78"/>
                <a:gd name="T28" fmla="*/ 46 w 49"/>
                <a:gd name="T29" fmla="*/ 66 h 78"/>
                <a:gd name="T30" fmla="*/ 47 w 49"/>
                <a:gd name="T31" fmla="*/ 66 h 78"/>
                <a:gd name="T32" fmla="*/ 49 w 49"/>
                <a:gd name="T33" fmla="*/ 68 h 78"/>
                <a:gd name="T34" fmla="*/ 49 w 49"/>
                <a:gd name="T35" fmla="*/ 73 h 78"/>
                <a:gd name="T36" fmla="*/ 46 w 49"/>
                <a:gd name="T37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" h="78">
                  <a:moveTo>
                    <a:pt x="46" y="76"/>
                  </a:moveTo>
                  <a:cubicBezTo>
                    <a:pt x="42" y="77"/>
                    <a:pt x="36" y="78"/>
                    <a:pt x="29" y="78"/>
                  </a:cubicBezTo>
                  <a:cubicBezTo>
                    <a:pt x="10" y="78"/>
                    <a:pt x="0" y="64"/>
                    <a:pt x="0" y="4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3"/>
                    <a:pt x="10" y="0"/>
                    <a:pt x="29" y="0"/>
                  </a:cubicBezTo>
                  <a:cubicBezTo>
                    <a:pt x="35" y="0"/>
                    <a:pt x="42" y="0"/>
                    <a:pt x="46" y="1"/>
                  </a:cubicBezTo>
                  <a:cubicBezTo>
                    <a:pt x="49" y="2"/>
                    <a:pt x="49" y="2"/>
                    <a:pt x="49" y="4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9" y="11"/>
                    <a:pt x="48" y="11"/>
                    <a:pt x="47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0" y="11"/>
                    <a:pt x="36" y="10"/>
                    <a:pt x="29" y="10"/>
                  </a:cubicBezTo>
                  <a:cubicBezTo>
                    <a:pt x="18" y="10"/>
                    <a:pt x="12" y="18"/>
                    <a:pt x="12" y="3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59"/>
                    <a:pt x="18" y="67"/>
                    <a:pt x="29" y="67"/>
                  </a:cubicBezTo>
                  <a:cubicBezTo>
                    <a:pt x="36" y="67"/>
                    <a:pt x="40" y="67"/>
                    <a:pt x="46" y="66"/>
                  </a:cubicBezTo>
                  <a:cubicBezTo>
                    <a:pt x="46" y="66"/>
                    <a:pt x="46" y="66"/>
                    <a:pt x="47" y="66"/>
                  </a:cubicBezTo>
                  <a:cubicBezTo>
                    <a:pt x="48" y="66"/>
                    <a:pt x="49" y="67"/>
                    <a:pt x="49" y="68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5"/>
                    <a:pt x="49" y="76"/>
                    <a:pt x="46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" name="Freeform 14"/>
            <p:cNvSpPr>
              <a:spLocks noEditPoints="1"/>
            </p:cNvSpPr>
            <p:nvPr/>
          </p:nvSpPr>
          <p:spPr bwMode="auto">
            <a:xfrm>
              <a:off x="-374650" y="3275013"/>
              <a:ext cx="115888" cy="147637"/>
            </a:xfrm>
            <a:custGeom>
              <a:avLst/>
              <a:gdLst>
                <a:gd name="T0" fmla="*/ 31 w 62"/>
                <a:gd name="T1" fmla="*/ 78 h 78"/>
                <a:gd name="T2" fmla="*/ 0 w 62"/>
                <a:gd name="T3" fmla="*/ 44 h 78"/>
                <a:gd name="T4" fmla="*/ 0 w 62"/>
                <a:gd name="T5" fmla="*/ 33 h 78"/>
                <a:gd name="T6" fmla="*/ 31 w 62"/>
                <a:gd name="T7" fmla="*/ 0 h 78"/>
                <a:gd name="T8" fmla="*/ 62 w 62"/>
                <a:gd name="T9" fmla="*/ 33 h 78"/>
                <a:gd name="T10" fmla="*/ 62 w 62"/>
                <a:gd name="T11" fmla="*/ 44 h 78"/>
                <a:gd name="T12" fmla="*/ 31 w 62"/>
                <a:gd name="T13" fmla="*/ 78 h 78"/>
                <a:gd name="T14" fmla="*/ 50 w 62"/>
                <a:gd name="T15" fmla="*/ 33 h 78"/>
                <a:gd name="T16" fmla="*/ 31 w 62"/>
                <a:gd name="T17" fmla="*/ 10 h 78"/>
                <a:gd name="T18" fmla="*/ 12 w 62"/>
                <a:gd name="T19" fmla="*/ 33 h 78"/>
                <a:gd name="T20" fmla="*/ 12 w 62"/>
                <a:gd name="T21" fmla="*/ 44 h 78"/>
                <a:gd name="T22" fmla="*/ 31 w 62"/>
                <a:gd name="T23" fmla="*/ 67 h 78"/>
                <a:gd name="T24" fmla="*/ 50 w 62"/>
                <a:gd name="T25" fmla="*/ 44 h 78"/>
                <a:gd name="T26" fmla="*/ 50 w 62"/>
                <a:gd name="T27" fmla="*/ 3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2" h="78">
                  <a:moveTo>
                    <a:pt x="31" y="78"/>
                  </a:moveTo>
                  <a:cubicBezTo>
                    <a:pt x="11" y="78"/>
                    <a:pt x="0" y="64"/>
                    <a:pt x="0" y="4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3"/>
                    <a:pt x="11" y="0"/>
                    <a:pt x="31" y="0"/>
                  </a:cubicBezTo>
                  <a:cubicBezTo>
                    <a:pt x="51" y="0"/>
                    <a:pt x="62" y="13"/>
                    <a:pt x="62" y="3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64"/>
                    <a:pt x="51" y="78"/>
                    <a:pt x="31" y="78"/>
                  </a:cubicBezTo>
                  <a:close/>
                  <a:moveTo>
                    <a:pt x="50" y="33"/>
                  </a:moveTo>
                  <a:cubicBezTo>
                    <a:pt x="50" y="19"/>
                    <a:pt x="44" y="10"/>
                    <a:pt x="31" y="10"/>
                  </a:cubicBezTo>
                  <a:cubicBezTo>
                    <a:pt x="18" y="10"/>
                    <a:pt x="12" y="19"/>
                    <a:pt x="12" y="3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58"/>
                    <a:pt x="18" y="67"/>
                    <a:pt x="31" y="67"/>
                  </a:cubicBezTo>
                  <a:cubicBezTo>
                    <a:pt x="44" y="67"/>
                    <a:pt x="50" y="58"/>
                    <a:pt x="50" y="44"/>
                  </a:cubicBezTo>
                  <a:lnTo>
                    <a:pt x="5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" name="Freeform 15"/>
            <p:cNvSpPr/>
            <p:nvPr/>
          </p:nvSpPr>
          <p:spPr bwMode="auto">
            <a:xfrm>
              <a:off x="-244475" y="3221038"/>
              <a:ext cx="85725" cy="198437"/>
            </a:xfrm>
            <a:custGeom>
              <a:avLst/>
              <a:gdLst>
                <a:gd name="T0" fmla="*/ 44 w 46"/>
                <a:gd name="T1" fmla="*/ 10 h 106"/>
                <a:gd name="T2" fmla="*/ 37 w 46"/>
                <a:gd name="T3" fmla="*/ 10 h 106"/>
                <a:gd name="T4" fmla="*/ 29 w 46"/>
                <a:gd name="T5" fmla="*/ 20 h 106"/>
                <a:gd name="T6" fmla="*/ 29 w 46"/>
                <a:gd name="T7" fmla="*/ 30 h 106"/>
                <a:gd name="T8" fmla="*/ 43 w 46"/>
                <a:gd name="T9" fmla="*/ 30 h 106"/>
                <a:gd name="T10" fmla="*/ 46 w 46"/>
                <a:gd name="T11" fmla="*/ 32 h 106"/>
                <a:gd name="T12" fmla="*/ 46 w 46"/>
                <a:gd name="T13" fmla="*/ 37 h 106"/>
                <a:gd name="T14" fmla="*/ 43 w 46"/>
                <a:gd name="T15" fmla="*/ 40 h 106"/>
                <a:gd name="T16" fmla="*/ 29 w 46"/>
                <a:gd name="T17" fmla="*/ 40 h 106"/>
                <a:gd name="T18" fmla="*/ 29 w 46"/>
                <a:gd name="T19" fmla="*/ 103 h 106"/>
                <a:gd name="T20" fmla="*/ 26 w 46"/>
                <a:gd name="T21" fmla="*/ 106 h 106"/>
                <a:gd name="T22" fmla="*/ 19 w 46"/>
                <a:gd name="T23" fmla="*/ 106 h 106"/>
                <a:gd name="T24" fmla="*/ 16 w 46"/>
                <a:gd name="T25" fmla="*/ 103 h 106"/>
                <a:gd name="T26" fmla="*/ 16 w 46"/>
                <a:gd name="T27" fmla="*/ 40 h 106"/>
                <a:gd name="T28" fmla="*/ 3 w 46"/>
                <a:gd name="T29" fmla="*/ 38 h 106"/>
                <a:gd name="T30" fmla="*/ 0 w 46"/>
                <a:gd name="T31" fmla="*/ 36 h 106"/>
                <a:gd name="T32" fmla="*/ 0 w 46"/>
                <a:gd name="T33" fmla="*/ 32 h 106"/>
                <a:gd name="T34" fmla="*/ 3 w 46"/>
                <a:gd name="T35" fmla="*/ 30 h 106"/>
                <a:gd name="T36" fmla="*/ 16 w 46"/>
                <a:gd name="T37" fmla="*/ 30 h 106"/>
                <a:gd name="T38" fmla="*/ 16 w 46"/>
                <a:gd name="T39" fmla="*/ 20 h 106"/>
                <a:gd name="T40" fmla="*/ 36 w 46"/>
                <a:gd name="T41" fmla="*/ 0 h 106"/>
                <a:gd name="T42" fmla="*/ 43 w 46"/>
                <a:gd name="T43" fmla="*/ 1 h 106"/>
                <a:gd name="T44" fmla="*/ 46 w 46"/>
                <a:gd name="T45" fmla="*/ 4 h 106"/>
                <a:gd name="T46" fmla="*/ 46 w 46"/>
                <a:gd name="T47" fmla="*/ 8 h 106"/>
                <a:gd name="T48" fmla="*/ 44 w 46"/>
                <a:gd name="T49" fmla="*/ 1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106">
                  <a:moveTo>
                    <a:pt x="44" y="10"/>
                  </a:moveTo>
                  <a:cubicBezTo>
                    <a:pt x="37" y="10"/>
                    <a:pt x="37" y="10"/>
                    <a:pt x="37" y="10"/>
                  </a:cubicBezTo>
                  <a:cubicBezTo>
                    <a:pt x="30" y="10"/>
                    <a:pt x="29" y="12"/>
                    <a:pt x="29" y="2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5" y="30"/>
                    <a:pt x="46" y="31"/>
                    <a:pt x="46" y="32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9"/>
                    <a:pt x="45" y="40"/>
                    <a:pt x="43" y="40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9" y="104"/>
                    <a:pt x="27" y="106"/>
                    <a:pt x="26" y="106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18" y="106"/>
                    <a:pt x="16" y="104"/>
                    <a:pt x="16" y="103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1" y="38"/>
                    <a:pt x="0" y="37"/>
                    <a:pt x="0" y="3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1"/>
                    <a:pt x="1" y="30"/>
                    <a:pt x="3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5"/>
                    <a:pt x="24" y="0"/>
                    <a:pt x="36" y="0"/>
                  </a:cubicBezTo>
                  <a:cubicBezTo>
                    <a:pt x="39" y="0"/>
                    <a:pt x="42" y="1"/>
                    <a:pt x="43" y="1"/>
                  </a:cubicBezTo>
                  <a:cubicBezTo>
                    <a:pt x="45" y="2"/>
                    <a:pt x="46" y="2"/>
                    <a:pt x="46" y="4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10"/>
                    <a:pt x="45" y="10"/>
                    <a:pt x="4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" name="Freeform 16"/>
            <p:cNvSpPr/>
            <p:nvPr/>
          </p:nvSpPr>
          <p:spPr bwMode="auto">
            <a:xfrm>
              <a:off x="-73025" y="3224213"/>
              <a:ext cx="115888" cy="198437"/>
            </a:xfrm>
            <a:custGeom>
              <a:avLst/>
              <a:gdLst>
                <a:gd name="T0" fmla="*/ 28 w 62"/>
                <a:gd name="T1" fmla="*/ 105 h 105"/>
                <a:gd name="T2" fmla="*/ 5 w 62"/>
                <a:gd name="T3" fmla="*/ 103 h 105"/>
                <a:gd name="T4" fmla="*/ 2 w 62"/>
                <a:gd name="T5" fmla="*/ 100 h 105"/>
                <a:gd name="T6" fmla="*/ 2 w 62"/>
                <a:gd name="T7" fmla="*/ 95 h 105"/>
                <a:gd name="T8" fmla="*/ 4 w 62"/>
                <a:gd name="T9" fmla="*/ 92 h 105"/>
                <a:gd name="T10" fmla="*/ 5 w 62"/>
                <a:gd name="T11" fmla="*/ 92 h 105"/>
                <a:gd name="T12" fmla="*/ 28 w 62"/>
                <a:gd name="T13" fmla="*/ 93 h 105"/>
                <a:gd name="T14" fmla="*/ 49 w 62"/>
                <a:gd name="T15" fmla="*/ 77 h 105"/>
                <a:gd name="T16" fmla="*/ 32 w 62"/>
                <a:gd name="T17" fmla="*/ 58 h 105"/>
                <a:gd name="T18" fmla="*/ 19 w 62"/>
                <a:gd name="T19" fmla="*/ 50 h 105"/>
                <a:gd name="T20" fmla="*/ 0 w 62"/>
                <a:gd name="T21" fmla="*/ 24 h 105"/>
                <a:gd name="T22" fmla="*/ 33 w 62"/>
                <a:gd name="T23" fmla="*/ 0 h 105"/>
                <a:gd name="T24" fmla="*/ 57 w 62"/>
                <a:gd name="T25" fmla="*/ 2 h 105"/>
                <a:gd name="T26" fmla="*/ 59 w 62"/>
                <a:gd name="T27" fmla="*/ 4 h 105"/>
                <a:gd name="T28" fmla="*/ 59 w 62"/>
                <a:gd name="T29" fmla="*/ 10 h 105"/>
                <a:gd name="T30" fmla="*/ 57 w 62"/>
                <a:gd name="T31" fmla="*/ 12 h 105"/>
                <a:gd name="T32" fmla="*/ 56 w 62"/>
                <a:gd name="T33" fmla="*/ 12 h 105"/>
                <a:gd name="T34" fmla="*/ 33 w 62"/>
                <a:gd name="T35" fmla="*/ 11 h 105"/>
                <a:gd name="T36" fmla="*/ 12 w 62"/>
                <a:gd name="T37" fmla="*/ 24 h 105"/>
                <a:gd name="T38" fmla="*/ 27 w 62"/>
                <a:gd name="T39" fmla="*/ 41 h 105"/>
                <a:gd name="T40" fmla="*/ 40 w 62"/>
                <a:gd name="T41" fmla="*/ 49 h 105"/>
                <a:gd name="T42" fmla="*/ 62 w 62"/>
                <a:gd name="T43" fmla="*/ 77 h 105"/>
                <a:gd name="T44" fmla="*/ 28 w 62"/>
                <a:gd name="T4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05">
                  <a:moveTo>
                    <a:pt x="28" y="105"/>
                  </a:moveTo>
                  <a:cubicBezTo>
                    <a:pt x="18" y="105"/>
                    <a:pt x="11" y="104"/>
                    <a:pt x="5" y="103"/>
                  </a:cubicBezTo>
                  <a:cubicBezTo>
                    <a:pt x="2" y="102"/>
                    <a:pt x="2" y="102"/>
                    <a:pt x="2" y="100"/>
                  </a:cubicBezTo>
                  <a:cubicBezTo>
                    <a:pt x="2" y="95"/>
                    <a:pt x="2" y="95"/>
                    <a:pt x="2" y="95"/>
                  </a:cubicBezTo>
                  <a:cubicBezTo>
                    <a:pt x="2" y="93"/>
                    <a:pt x="3" y="92"/>
                    <a:pt x="4" y="92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11" y="93"/>
                    <a:pt x="21" y="93"/>
                    <a:pt x="28" y="93"/>
                  </a:cubicBezTo>
                  <a:cubicBezTo>
                    <a:pt x="44" y="93"/>
                    <a:pt x="49" y="87"/>
                    <a:pt x="49" y="77"/>
                  </a:cubicBezTo>
                  <a:cubicBezTo>
                    <a:pt x="49" y="70"/>
                    <a:pt x="45" y="66"/>
                    <a:pt x="32" y="58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6" y="43"/>
                    <a:pt x="0" y="35"/>
                    <a:pt x="0" y="24"/>
                  </a:cubicBezTo>
                  <a:cubicBezTo>
                    <a:pt x="0" y="8"/>
                    <a:pt x="12" y="0"/>
                    <a:pt x="33" y="0"/>
                  </a:cubicBezTo>
                  <a:cubicBezTo>
                    <a:pt x="41" y="0"/>
                    <a:pt x="51" y="1"/>
                    <a:pt x="57" y="2"/>
                  </a:cubicBezTo>
                  <a:cubicBezTo>
                    <a:pt x="58" y="2"/>
                    <a:pt x="59" y="3"/>
                    <a:pt x="59" y="4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1"/>
                    <a:pt x="58" y="12"/>
                    <a:pt x="57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0" y="12"/>
                    <a:pt x="41" y="11"/>
                    <a:pt x="33" y="11"/>
                  </a:cubicBezTo>
                  <a:cubicBezTo>
                    <a:pt x="18" y="11"/>
                    <a:pt x="12" y="14"/>
                    <a:pt x="12" y="24"/>
                  </a:cubicBezTo>
                  <a:cubicBezTo>
                    <a:pt x="12" y="31"/>
                    <a:pt x="17" y="35"/>
                    <a:pt x="27" y="41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56" y="58"/>
                    <a:pt x="62" y="66"/>
                    <a:pt x="62" y="77"/>
                  </a:cubicBezTo>
                  <a:cubicBezTo>
                    <a:pt x="62" y="90"/>
                    <a:pt x="55" y="105"/>
                    <a:pt x="28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" name="Freeform 17"/>
            <p:cNvSpPr>
              <a:spLocks noEditPoints="1"/>
            </p:cNvSpPr>
            <p:nvPr/>
          </p:nvSpPr>
          <p:spPr bwMode="auto">
            <a:xfrm>
              <a:off x="69850" y="3275013"/>
              <a:ext cx="114300" cy="147637"/>
            </a:xfrm>
            <a:custGeom>
              <a:avLst/>
              <a:gdLst>
                <a:gd name="T0" fmla="*/ 30 w 61"/>
                <a:gd name="T1" fmla="*/ 78 h 78"/>
                <a:gd name="T2" fmla="*/ 0 w 61"/>
                <a:gd name="T3" fmla="*/ 44 h 78"/>
                <a:gd name="T4" fmla="*/ 0 w 61"/>
                <a:gd name="T5" fmla="*/ 33 h 78"/>
                <a:gd name="T6" fmla="*/ 30 w 61"/>
                <a:gd name="T7" fmla="*/ 0 h 78"/>
                <a:gd name="T8" fmla="*/ 61 w 61"/>
                <a:gd name="T9" fmla="*/ 33 h 78"/>
                <a:gd name="T10" fmla="*/ 61 w 61"/>
                <a:gd name="T11" fmla="*/ 44 h 78"/>
                <a:gd name="T12" fmla="*/ 30 w 61"/>
                <a:gd name="T13" fmla="*/ 78 h 78"/>
                <a:gd name="T14" fmla="*/ 49 w 61"/>
                <a:gd name="T15" fmla="*/ 33 h 78"/>
                <a:gd name="T16" fmla="*/ 30 w 61"/>
                <a:gd name="T17" fmla="*/ 10 h 78"/>
                <a:gd name="T18" fmla="*/ 12 w 61"/>
                <a:gd name="T19" fmla="*/ 33 h 78"/>
                <a:gd name="T20" fmla="*/ 12 w 61"/>
                <a:gd name="T21" fmla="*/ 44 h 78"/>
                <a:gd name="T22" fmla="*/ 30 w 61"/>
                <a:gd name="T23" fmla="*/ 67 h 78"/>
                <a:gd name="T24" fmla="*/ 49 w 61"/>
                <a:gd name="T25" fmla="*/ 44 h 78"/>
                <a:gd name="T26" fmla="*/ 49 w 61"/>
                <a:gd name="T27" fmla="*/ 3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78">
                  <a:moveTo>
                    <a:pt x="30" y="78"/>
                  </a:moveTo>
                  <a:cubicBezTo>
                    <a:pt x="10" y="78"/>
                    <a:pt x="0" y="64"/>
                    <a:pt x="0" y="4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3"/>
                    <a:pt x="10" y="0"/>
                    <a:pt x="30" y="0"/>
                  </a:cubicBezTo>
                  <a:cubicBezTo>
                    <a:pt x="51" y="0"/>
                    <a:pt x="61" y="13"/>
                    <a:pt x="61" y="33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1" y="64"/>
                    <a:pt x="51" y="78"/>
                    <a:pt x="30" y="78"/>
                  </a:cubicBezTo>
                  <a:close/>
                  <a:moveTo>
                    <a:pt x="49" y="33"/>
                  </a:moveTo>
                  <a:cubicBezTo>
                    <a:pt x="49" y="19"/>
                    <a:pt x="43" y="10"/>
                    <a:pt x="30" y="10"/>
                  </a:cubicBezTo>
                  <a:cubicBezTo>
                    <a:pt x="17" y="10"/>
                    <a:pt x="12" y="19"/>
                    <a:pt x="12" y="3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58"/>
                    <a:pt x="17" y="67"/>
                    <a:pt x="30" y="67"/>
                  </a:cubicBezTo>
                  <a:cubicBezTo>
                    <a:pt x="43" y="67"/>
                    <a:pt x="49" y="58"/>
                    <a:pt x="49" y="44"/>
                  </a:cubicBezTo>
                  <a:lnTo>
                    <a:pt x="49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" name="Freeform 18"/>
            <p:cNvSpPr/>
            <p:nvPr/>
          </p:nvSpPr>
          <p:spPr bwMode="auto">
            <a:xfrm>
              <a:off x="198438" y="3221038"/>
              <a:ext cx="85725" cy="198437"/>
            </a:xfrm>
            <a:custGeom>
              <a:avLst/>
              <a:gdLst>
                <a:gd name="T0" fmla="*/ 43 w 45"/>
                <a:gd name="T1" fmla="*/ 10 h 106"/>
                <a:gd name="T2" fmla="*/ 36 w 45"/>
                <a:gd name="T3" fmla="*/ 10 h 106"/>
                <a:gd name="T4" fmla="*/ 28 w 45"/>
                <a:gd name="T5" fmla="*/ 20 h 106"/>
                <a:gd name="T6" fmla="*/ 28 w 45"/>
                <a:gd name="T7" fmla="*/ 30 h 106"/>
                <a:gd name="T8" fmla="*/ 42 w 45"/>
                <a:gd name="T9" fmla="*/ 30 h 106"/>
                <a:gd name="T10" fmla="*/ 45 w 45"/>
                <a:gd name="T11" fmla="*/ 32 h 106"/>
                <a:gd name="T12" fmla="*/ 45 w 45"/>
                <a:gd name="T13" fmla="*/ 37 h 106"/>
                <a:gd name="T14" fmla="*/ 42 w 45"/>
                <a:gd name="T15" fmla="*/ 40 h 106"/>
                <a:gd name="T16" fmla="*/ 28 w 45"/>
                <a:gd name="T17" fmla="*/ 40 h 106"/>
                <a:gd name="T18" fmla="*/ 28 w 45"/>
                <a:gd name="T19" fmla="*/ 103 h 106"/>
                <a:gd name="T20" fmla="*/ 25 w 45"/>
                <a:gd name="T21" fmla="*/ 106 h 106"/>
                <a:gd name="T22" fmla="*/ 18 w 45"/>
                <a:gd name="T23" fmla="*/ 106 h 106"/>
                <a:gd name="T24" fmla="*/ 16 w 45"/>
                <a:gd name="T25" fmla="*/ 103 h 106"/>
                <a:gd name="T26" fmla="*/ 16 w 45"/>
                <a:gd name="T27" fmla="*/ 40 h 106"/>
                <a:gd name="T28" fmla="*/ 2 w 45"/>
                <a:gd name="T29" fmla="*/ 38 h 106"/>
                <a:gd name="T30" fmla="*/ 0 w 45"/>
                <a:gd name="T31" fmla="*/ 36 h 106"/>
                <a:gd name="T32" fmla="*/ 0 w 45"/>
                <a:gd name="T33" fmla="*/ 32 h 106"/>
                <a:gd name="T34" fmla="*/ 2 w 45"/>
                <a:gd name="T35" fmla="*/ 30 h 106"/>
                <a:gd name="T36" fmla="*/ 16 w 45"/>
                <a:gd name="T37" fmla="*/ 30 h 106"/>
                <a:gd name="T38" fmla="*/ 16 w 45"/>
                <a:gd name="T39" fmla="*/ 20 h 106"/>
                <a:gd name="T40" fmla="*/ 35 w 45"/>
                <a:gd name="T41" fmla="*/ 0 h 106"/>
                <a:gd name="T42" fmla="*/ 43 w 45"/>
                <a:gd name="T43" fmla="*/ 1 h 106"/>
                <a:gd name="T44" fmla="*/ 45 w 45"/>
                <a:gd name="T45" fmla="*/ 4 h 106"/>
                <a:gd name="T46" fmla="*/ 45 w 45"/>
                <a:gd name="T47" fmla="*/ 8 h 106"/>
                <a:gd name="T48" fmla="*/ 43 w 45"/>
                <a:gd name="T49" fmla="*/ 1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5" h="106">
                  <a:moveTo>
                    <a:pt x="43" y="10"/>
                  </a:moveTo>
                  <a:cubicBezTo>
                    <a:pt x="36" y="10"/>
                    <a:pt x="36" y="10"/>
                    <a:pt x="36" y="10"/>
                  </a:cubicBezTo>
                  <a:cubicBezTo>
                    <a:pt x="30" y="10"/>
                    <a:pt x="28" y="12"/>
                    <a:pt x="28" y="2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4" y="30"/>
                    <a:pt x="45" y="31"/>
                    <a:pt x="45" y="32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9"/>
                    <a:pt x="44" y="40"/>
                    <a:pt x="42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4"/>
                    <a:pt x="27" y="106"/>
                    <a:pt x="25" y="106"/>
                  </a:cubicBezTo>
                  <a:cubicBezTo>
                    <a:pt x="18" y="106"/>
                    <a:pt x="18" y="106"/>
                    <a:pt x="18" y="106"/>
                  </a:cubicBezTo>
                  <a:cubicBezTo>
                    <a:pt x="17" y="106"/>
                    <a:pt x="16" y="104"/>
                    <a:pt x="16" y="103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8"/>
                    <a:pt x="0" y="37"/>
                    <a:pt x="0" y="3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1"/>
                    <a:pt x="1" y="30"/>
                    <a:pt x="2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5"/>
                    <a:pt x="23" y="0"/>
                    <a:pt x="35" y="0"/>
                  </a:cubicBezTo>
                  <a:cubicBezTo>
                    <a:pt x="39" y="0"/>
                    <a:pt x="41" y="1"/>
                    <a:pt x="43" y="1"/>
                  </a:cubicBezTo>
                  <a:cubicBezTo>
                    <a:pt x="44" y="2"/>
                    <a:pt x="45" y="2"/>
                    <a:pt x="45" y="4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10"/>
                    <a:pt x="44" y="10"/>
                    <a:pt x="4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" name="Freeform 19"/>
            <p:cNvSpPr/>
            <p:nvPr/>
          </p:nvSpPr>
          <p:spPr bwMode="auto">
            <a:xfrm>
              <a:off x="296863" y="3243263"/>
              <a:ext cx="88900" cy="179387"/>
            </a:xfrm>
            <a:custGeom>
              <a:avLst/>
              <a:gdLst>
                <a:gd name="T0" fmla="*/ 44 w 47"/>
                <a:gd name="T1" fmla="*/ 94 h 95"/>
                <a:gd name="T2" fmla="*/ 35 w 47"/>
                <a:gd name="T3" fmla="*/ 95 h 95"/>
                <a:gd name="T4" fmla="*/ 16 w 47"/>
                <a:gd name="T5" fmla="*/ 76 h 95"/>
                <a:gd name="T6" fmla="*/ 16 w 47"/>
                <a:gd name="T7" fmla="*/ 28 h 95"/>
                <a:gd name="T8" fmla="*/ 3 w 47"/>
                <a:gd name="T9" fmla="*/ 26 h 95"/>
                <a:gd name="T10" fmla="*/ 0 w 47"/>
                <a:gd name="T11" fmla="*/ 24 h 95"/>
                <a:gd name="T12" fmla="*/ 0 w 47"/>
                <a:gd name="T13" fmla="*/ 20 h 95"/>
                <a:gd name="T14" fmla="*/ 3 w 47"/>
                <a:gd name="T15" fmla="*/ 18 h 95"/>
                <a:gd name="T16" fmla="*/ 16 w 47"/>
                <a:gd name="T17" fmla="*/ 18 h 95"/>
                <a:gd name="T18" fmla="*/ 16 w 47"/>
                <a:gd name="T19" fmla="*/ 4 h 95"/>
                <a:gd name="T20" fmla="*/ 19 w 47"/>
                <a:gd name="T21" fmla="*/ 1 h 95"/>
                <a:gd name="T22" fmla="*/ 26 w 47"/>
                <a:gd name="T23" fmla="*/ 0 h 95"/>
                <a:gd name="T24" fmla="*/ 26 w 47"/>
                <a:gd name="T25" fmla="*/ 0 h 95"/>
                <a:gd name="T26" fmla="*/ 28 w 47"/>
                <a:gd name="T27" fmla="*/ 3 h 95"/>
                <a:gd name="T28" fmla="*/ 28 w 47"/>
                <a:gd name="T29" fmla="*/ 18 h 95"/>
                <a:gd name="T30" fmla="*/ 43 w 47"/>
                <a:gd name="T31" fmla="*/ 18 h 95"/>
                <a:gd name="T32" fmla="*/ 46 w 47"/>
                <a:gd name="T33" fmla="*/ 20 h 95"/>
                <a:gd name="T34" fmla="*/ 46 w 47"/>
                <a:gd name="T35" fmla="*/ 25 h 95"/>
                <a:gd name="T36" fmla="*/ 43 w 47"/>
                <a:gd name="T37" fmla="*/ 28 h 95"/>
                <a:gd name="T38" fmla="*/ 28 w 47"/>
                <a:gd name="T39" fmla="*/ 28 h 95"/>
                <a:gd name="T40" fmla="*/ 28 w 47"/>
                <a:gd name="T41" fmla="*/ 76 h 95"/>
                <a:gd name="T42" fmla="*/ 36 w 47"/>
                <a:gd name="T43" fmla="*/ 85 h 95"/>
                <a:gd name="T44" fmla="*/ 44 w 47"/>
                <a:gd name="T45" fmla="*/ 85 h 95"/>
                <a:gd name="T46" fmla="*/ 47 w 47"/>
                <a:gd name="T47" fmla="*/ 87 h 95"/>
                <a:gd name="T48" fmla="*/ 47 w 47"/>
                <a:gd name="T49" fmla="*/ 92 h 95"/>
                <a:gd name="T50" fmla="*/ 44 w 47"/>
                <a:gd name="T51" fmla="*/ 94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7" h="95">
                  <a:moveTo>
                    <a:pt x="44" y="94"/>
                  </a:moveTo>
                  <a:cubicBezTo>
                    <a:pt x="41" y="94"/>
                    <a:pt x="38" y="95"/>
                    <a:pt x="35" y="95"/>
                  </a:cubicBezTo>
                  <a:cubicBezTo>
                    <a:pt x="22" y="95"/>
                    <a:pt x="16" y="91"/>
                    <a:pt x="16" y="76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1" y="26"/>
                    <a:pt x="0" y="25"/>
                    <a:pt x="0" y="2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9"/>
                    <a:pt x="1" y="18"/>
                    <a:pt x="3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3"/>
                    <a:pt x="17" y="2"/>
                    <a:pt x="19" y="1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3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45" y="18"/>
                    <a:pt x="46" y="19"/>
                    <a:pt x="46" y="20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7"/>
                    <a:pt x="45" y="28"/>
                    <a:pt x="43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84"/>
                    <a:pt x="30" y="85"/>
                    <a:pt x="36" y="85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6" y="85"/>
                    <a:pt x="47" y="85"/>
                    <a:pt x="47" y="87"/>
                  </a:cubicBezTo>
                  <a:cubicBezTo>
                    <a:pt x="47" y="92"/>
                    <a:pt x="47" y="92"/>
                    <a:pt x="47" y="92"/>
                  </a:cubicBezTo>
                  <a:cubicBezTo>
                    <a:pt x="47" y="93"/>
                    <a:pt x="46" y="94"/>
                    <a:pt x="44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" name="Freeform 20"/>
            <p:cNvSpPr/>
            <p:nvPr/>
          </p:nvSpPr>
          <p:spPr bwMode="auto">
            <a:xfrm>
              <a:off x="400050" y="3276600"/>
              <a:ext cx="184150" cy="146050"/>
            </a:xfrm>
            <a:custGeom>
              <a:avLst/>
              <a:gdLst>
                <a:gd name="T0" fmla="*/ 98 w 98"/>
                <a:gd name="T1" fmla="*/ 3 h 77"/>
                <a:gd name="T2" fmla="*/ 85 w 98"/>
                <a:gd name="T3" fmla="*/ 67 h 77"/>
                <a:gd name="T4" fmla="*/ 73 w 98"/>
                <a:gd name="T5" fmla="*/ 77 h 77"/>
                <a:gd name="T6" fmla="*/ 62 w 98"/>
                <a:gd name="T7" fmla="*/ 67 h 77"/>
                <a:gd name="T8" fmla="*/ 50 w 98"/>
                <a:gd name="T9" fmla="*/ 20 h 77"/>
                <a:gd name="T10" fmla="*/ 49 w 98"/>
                <a:gd name="T11" fmla="*/ 19 h 77"/>
                <a:gd name="T12" fmla="*/ 49 w 98"/>
                <a:gd name="T13" fmla="*/ 20 h 77"/>
                <a:gd name="T14" fmla="*/ 37 w 98"/>
                <a:gd name="T15" fmla="*/ 67 h 77"/>
                <a:gd name="T16" fmla="*/ 25 w 98"/>
                <a:gd name="T17" fmla="*/ 77 h 77"/>
                <a:gd name="T18" fmla="*/ 14 w 98"/>
                <a:gd name="T19" fmla="*/ 67 h 77"/>
                <a:gd name="T20" fmla="*/ 0 w 98"/>
                <a:gd name="T21" fmla="*/ 3 h 77"/>
                <a:gd name="T22" fmla="*/ 0 w 98"/>
                <a:gd name="T23" fmla="*/ 2 h 77"/>
                <a:gd name="T24" fmla="*/ 3 w 98"/>
                <a:gd name="T25" fmla="*/ 0 h 77"/>
                <a:gd name="T26" fmla="*/ 10 w 98"/>
                <a:gd name="T27" fmla="*/ 0 h 77"/>
                <a:gd name="T28" fmla="*/ 13 w 98"/>
                <a:gd name="T29" fmla="*/ 2 h 77"/>
                <a:gd name="T30" fmla="*/ 24 w 98"/>
                <a:gd name="T31" fmla="*/ 65 h 77"/>
                <a:gd name="T32" fmla="*/ 25 w 98"/>
                <a:gd name="T33" fmla="*/ 66 h 77"/>
                <a:gd name="T34" fmla="*/ 26 w 98"/>
                <a:gd name="T35" fmla="*/ 65 h 77"/>
                <a:gd name="T36" fmla="*/ 40 w 98"/>
                <a:gd name="T37" fmla="*/ 12 h 77"/>
                <a:gd name="T38" fmla="*/ 45 w 98"/>
                <a:gd name="T39" fmla="*/ 8 h 77"/>
                <a:gd name="T40" fmla="*/ 53 w 98"/>
                <a:gd name="T41" fmla="*/ 8 h 77"/>
                <a:gd name="T42" fmla="*/ 59 w 98"/>
                <a:gd name="T43" fmla="*/ 12 h 77"/>
                <a:gd name="T44" fmla="*/ 72 w 98"/>
                <a:gd name="T45" fmla="*/ 65 h 77"/>
                <a:gd name="T46" fmla="*/ 73 w 98"/>
                <a:gd name="T47" fmla="*/ 66 h 77"/>
                <a:gd name="T48" fmla="*/ 74 w 98"/>
                <a:gd name="T49" fmla="*/ 65 h 77"/>
                <a:gd name="T50" fmla="*/ 86 w 98"/>
                <a:gd name="T51" fmla="*/ 2 h 77"/>
                <a:gd name="T52" fmla="*/ 88 w 98"/>
                <a:gd name="T53" fmla="*/ 0 h 77"/>
                <a:gd name="T54" fmla="*/ 96 w 98"/>
                <a:gd name="T55" fmla="*/ 0 h 77"/>
                <a:gd name="T56" fmla="*/ 98 w 98"/>
                <a:gd name="T57" fmla="*/ 2 h 77"/>
                <a:gd name="T58" fmla="*/ 98 w 98"/>
                <a:gd name="T59" fmla="*/ 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8" h="77">
                  <a:moveTo>
                    <a:pt x="98" y="3"/>
                  </a:moveTo>
                  <a:cubicBezTo>
                    <a:pt x="85" y="67"/>
                    <a:pt x="85" y="67"/>
                    <a:pt x="85" y="67"/>
                  </a:cubicBezTo>
                  <a:cubicBezTo>
                    <a:pt x="83" y="76"/>
                    <a:pt x="82" y="77"/>
                    <a:pt x="73" y="77"/>
                  </a:cubicBezTo>
                  <a:cubicBezTo>
                    <a:pt x="66" y="77"/>
                    <a:pt x="64" y="75"/>
                    <a:pt x="62" y="67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19"/>
                    <a:pt x="50" y="19"/>
                    <a:pt x="49" y="19"/>
                  </a:cubicBezTo>
                  <a:cubicBezTo>
                    <a:pt x="49" y="19"/>
                    <a:pt x="49" y="19"/>
                    <a:pt x="49" y="20"/>
                  </a:cubicBezTo>
                  <a:cubicBezTo>
                    <a:pt x="37" y="67"/>
                    <a:pt x="37" y="67"/>
                    <a:pt x="37" y="67"/>
                  </a:cubicBezTo>
                  <a:cubicBezTo>
                    <a:pt x="35" y="75"/>
                    <a:pt x="32" y="77"/>
                    <a:pt x="25" y="77"/>
                  </a:cubicBezTo>
                  <a:cubicBezTo>
                    <a:pt x="17" y="77"/>
                    <a:pt x="15" y="76"/>
                    <a:pt x="14" y="6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3" y="1"/>
                    <a:pt x="13" y="2"/>
                  </a:cubicBezTo>
                  <a:cubicBezTo>
                    <a:pt x="24" y="65"/>
                    <a:pt x="24" y="65"/>
                    <a:pt x="24" y="65"/>
                  </a:cubicBezTo>
                  <a:cubicBezTo>
                    <a:pt x="24" y="66"/>
                    <a:pt x="25" y="66"/>
                    <a:pt x="25" y="66"/>
                  </a:cubicBezTo>
                  <a:cubicBezTo>
                    <a:pt x="26" y="66"/>
                    <a:pt x="26" y="66"/>
                    <a:pt x="26" y="65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1" y="9"/>
                    <a:pt x="43" y="8"/>
                    <a:pt x="45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6" y="8"/>
                    <a:pt x="58" y="9"/>
                    <a:pt x="59" y="12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4" y="66"/>
                    <a:pt x="74" y="66"/>
                    <a:pt x="74" y="65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6" y="1"/>
                    <a:pt x="87" y="0"/>
                    <a:pt x="8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7" y="0"/>
                    <a:pt x="98" y="1"/>
                    <a:pt x="98" y="2"/>
                  </a:cubicBezTo>
                  <a:cubicBezTo>
                    <a:pt x="98" y="3"/>
                    <a:pt x="98" y="3"/>
                    <a:pt x="9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" name="Freeform 21"/>
            <p:cNvSpPr>
              <a:spLocks noEditPoints="1"/>
            </p:cNvSpPr>
            <p:nvPr/>
          </p:nvSpPr>
          <p:spPr bwMode="auto">
            <a:xfrm>
              <a:off x="608013" y="3275013"/>
              <a:ext cx="104775" cy="147637"/>
            </a:xfrm>
            <a:custGeom>
              <a:avLst/>
              <a:gdLst>
                <a:gd name="T0" fmla="*/ 53 w 56"/>
                <a:gd name="T1" fmla="*/ 77 h 78"/>
                <a:gd name="T2" fmla="*/ 47 w 56"/>
                <a:gd name="T3" fmla="*/ 77 h 78"/>
                <a:gd name="T4" fmla="*/ 44 w 56"/>
                <a:gd name="T5" fmla="*/ 74 h 78"/>
                <a:gd name="T6" fmla="*/ 44 w 56"/>
                <a:gd name="T7" fmla="*/ 71 h 78"/>
                <a:gd name="T8" fmla="*/ 23 w 56"/>
                <a:gd name="T9" fmla="*/ 78 h 78"/>
                <a:gd name="T10" fmla="*/ 0 w 56"/>
                <a:gd name="T11" fmla="*/ 55 h 78"/>
                <a:gd name="T12" fmla="*/ 0 w 56"/>
                <a:gd name="T13" fmla="*/ 54 h 78"/>
                <a:gd name="T14" fmla="*/ 34 w 56"/>
                <a:gd name="T15" fmla="*/ 31 h 78"/>
                <a:gd name="T16" fmla="*/ 44 w 56"/>
                <a:gd name="T17" fmla="*/ 31 h 78"/>
                <a:gd name="T18" fmla="*/ 44 w 56"/>
                <a:gd name="T19" fmla="*/ 26 h 78"/>
                <a:gd name="T20" fmla="*/ 29 w 56"/>
                <a:gd name="T21" fmla="*/ 10 h 78"/>
                <a:gd name="T22" fmla="*/ 8 w 56"/>
                <a:gd name="T23" fmla="*/ 11 h 78"/>
                <a:gd name="T24" fmla="*/ 7 w 56"/>
                <a:gd name="T25" fmla="*/ 11 h 78"/>
                <a:gd name="T26" fmla="*/ 5 w 56"/>
                <a:gd name="T27" fmla="*/ 9 h 78"/>
                <a:gd name="T28" fmla="*/ 5 w 56"/>
                <a:gd name="T29" fmla="*/ 4 h 78"/>
                <a:gd name="T30" fmla="*/ 8 w 56"/>
                <a:gd name="T31" fmla="*/ 1 h 78"/>
                <a:gd name="T32" fmla="*/ 29 w 56"/>
                <a:gd name="T33" fmla="*/ 0 h 78"/>
                <a:gd name="T34" fmla="*/ 56 w 56"/>
                <a:gd name="T35" fmla="*/ 26 h 78"/>
                <a:gd name="T36" fmla="*/ 56 w 56"/>
                <a:gd name="T37" fmla="*/ 74 h 78"/>
                <a:gd name="T38" fmla="*/ 53 w 56"/>
                <a:gd name="T39" fmla="*/ 77 h 78"/>
                <a:gd name="T40" fmla="*/ 44 w 56"/>
                <a:gd name="T41" fmla="*/ 40 h 78"/>
                <a:gd name="T42" fmla="*/ 34 w 56"/>
                <a:gd name="T43" fmla="*/ 40 h 78"/>
                <a:gd name="T44" fmla="*/ 12 w 56"/>
                <a:gd name="T45" fmla="*/ 53 h 78"/>
                <a:gd name="T46" fmla="*/ 12 w 56"/>
                <a:gd name="T47" fmla="*/ 55 h 78"/>
                <a:gd name="T48" fmla="*/ 25 w 56"/>
                <a:gd name="T49" fmla="*/ 68 h 78"/>
                <a:gd name="T50" fmla="*/ 44 w 56"/>
                <a:gd name="T51" fmla="*/ 62 h 78"/>
                <a:gd name="T52" fmla="*/ 44 w 56"/>
                <a:gd name="T53" fmla="*/ 4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6" h="78">
                  <a:moveTo>
                    <a:pt x="53" y="77"/>
                  </a:moveTo>
                  <a:cubicBezTo>
                    <a:pt x="47" y="77"/>
                    <a:pt x="47" y="77"/>
                    <a:pt x="47" y="77"/>
                  </a:cubicBezTo>
                  <a:cubicBezTo>
                    <a:pt x="45" y="77"/>
                    <a:pt x="44" y="75"/>
                    <a:pt x="44" y="74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37" y="75"/>
                    <a:pt x="30" y="78"/>
                    <a:pt x="23" y="78"/>
                  </a:cubicBezTo>
                  <a:cubicBezTo>
                    <a:pt x="11" y="78"/>
                    <a:pt x="0" y="72"/>
                    <a:pt x="0" y="5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39"/>
                    <a:pt x="9" y="31"/>
                    <a:pt x="3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14"/>
                    <a:pt x="40" y="10"/>
                    <a:pt x="29" y="10"/>
                  </a:cubicBezTo>
                  <a:cubicBezTo>
                    <a:pt x="20" y="10"/>
                    <a:pt x="13" y="11"/>
                    <a:pt x="8" y="11"/>
                  </a:cubicBezTo>
                  <a:cubicBezTo>
                    <a:pt x="8" y="11"/>
                    <a:pt x="7" y="11"/>
                    <a:pt x="7" y="11"/>
                  </a:cubicBezTo>
                  <a:cubicBezTo>
                    <a:pt x="6" y="11"/>
                    <a:pt x="5" y="11"/>
                    <a:pt x="5" y="9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8" y="1"/>
                  </a:cubicBezTo>
                  <a:cubicBezTo>
                    <a:pt x="13" y="0"/>
                    <a:pt x="20" y="0"/>
                    <a:pt x="29" y="0"/>
                  </a:cubicBezTo>
                  <a:cubicBezTo>
                    <a:pt x="48" y="0"/>
                    <a:pt x="56" y="9"/>
                    <a:pt x="56" y="26"/>
                  </a:cubicBezTo>
                  <a:cubicBezTo>
                    <a:pt x="56" y="74"/>
                    <a:pt x="56" y="74"/>
                    <a:pt x="56" y="74"/>
                  </a:cubicBezTo>
                  <a:cubicBezTo>
                    <a:pt x="56" y="75"/>
                    <a:pt x="55" y="77"/>
                    <a:pt x="53" y="77"/>
                  </a:cubicBezTo>
                  <a:close/>
                  <a:moveTo>
                    <a:pt x="44" y="40"/>
                  </a:moveTo>
                  <a:cubicBezTo>
                    <a:pt x="34" y="40"/>
                    <a:pt x="34" y="40"/>
                    <a:pt x="34" y="40"/>
                  </a:cubicBezTo>
                  <a:cubicBezTo>
                    <a:pt x="17" y="40"/>
                    <a:pt x="12" y="44"/>
                    <a:pt x="12" y="53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65"/>
                    <a:pt x="17" y="68"/>
                    <a:pt x="25" y="68"/>
                  </a:cubicBezTo>
                  <a:cubicBezTo>
                    <a:pt x="31" y="68"/>
                    <a:pt x="37" y="66"/>
                    <a:pt x="44" y="62"/>
                  </a:cubicBezTo>
                  <a:lnTo>
                    <a:pt x="4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" name="Freeform 22"/>
            <p:cNvSpPr/>
            <p:nvPr/>
          </p:nvSpPr>
          <p:spPr bwMode="auto">
            <a:xfrm>
              <a:off x="749300" y="3275013"/>
              <a:ext cx="63500" cy="144462"/>
            </a:xfrm>
            <a:custGeom>
              <a:avLst/>
              <a:gdLst>
                <a:gd name="T0" fmla="*/ 31 w 34"/>
                <a:gd name="T1" fmla="*/ 10 h 77"/>
                <a:gd name="T2" fmla="*/ 12 w 34"/>
                <a:gd name="T3" fmla="*/ 16 h 77"/>
                <a:gd name="T4" fmla="*/ 12 w 34"/>
                <a:gd name="T5" fmla="*/ 74 h 77"/>
                <a:gd name="T6" fmla="*/ 9 w 34"/>
                <a:gd name="T7" fmla="*/ 77 h 77"/>
                <a:gd name="T8" fmla="*/ 2 w 34"/>
                <a:gd name="T9" fmla="*/ 77 h 77"/>
                <a:gd name="T10" fmla="*/ 0 w 34"/>
                <a:gd name="T11" fmla="*/ 74 h 77"/>
                <a:gd name="T12" fmla="*/ 0 w 34"/>
                <a:gd name="T13" fmla="*/ 3 h 77"/>
                <a:gd name="T14" fmla="*/ 2 w 34"/>
                <a:gd name="T15" fmla="*/ 1 h 77"/>
                <a:gd name="T16" fmla="*/ 9 w 34"/>
                <a:gd name="T17" fmla="*/ 1 h 77"/>
                <a:gd name="T18" fmla="*/ 11 w 34"/>
                <a:gd name="T19" fmla="*/ 3 h 77"/>
                <a:gd name="T20" fmla="*/ 11 w 34"/>
                <a:gd name="T21" fmla="*/ 6 h 77"/>
                <a:gd name="T22" fmla="*/ 31 w 34"/>
                <a:gd name="T23" fmla="*/ 0 h 77"/>
                <a:gd name="T24" fmla="*/ 34 w 34"/>
                <a:gd name="T25" fmla="*/ 2 h 77"/>
                <a:gd name="T26" fmla="*/ 34 w 34"/>
                <a:gd name="T27" fmla="*/ 8 h 77"/>
                <a:gd name="T28" fmla="*/ 31 w 34"/>
                <a:gd name="T29" fmla="*/ 1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77">
                  <a:moveTo>
                    <a:pt x="31" y="10"/>
                  </a:moveTo>
                  <a:cubicBezTo>
                    <a:pt x="25" y="10"/>
                    <a:pt x="19" y="12"/>
                    <a:pt x="12" y="16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75"/>
                    <a:pt x="11" y="77"/>
                    <a:pt x="9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1" y="77"/>
                    <a:pt x="0" y="75"/>
                    <a:pt x="0" y="7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1"/>
                    <a:pt x="11" y="2"/>
                    <a:pt x="11" y="3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8" y="1"/>
                    <a:pt x="25" y="0"/>
                    <a:pt x="31" y="0"/>
                  </a:cubicBezTo>
                  <a:cubicBezTo>
                    <a:pt x="33" y="0"/>
                    <a:pt x="34" y="0"/>
                    <a:pt x="34" y="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9"/>
                    <a:pt x="33" y="10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" name="Freeform 23"/>
            <p:cNvSpPr>
              <a:spLocks noEditPoints="1"/>
            </p:cNvSpPr>
            <p:nvPr/>
          </p:nvSpPr>
          <p:spPr bwMode="auto">
            <a:xfrm>
              <a:off x="825500" y="3275013"/>
              <a:ext cx="114300" cy="147637"/>
            </a:xfrm>
            <a:custGeom>
              <a:avLst/>
              <a:gdLst>
                <a:gd name="T0" fmla="*/ 59 w 61"/>
                <a:gd name="T1" fmla="*/ 42 h 78"/>
                <a:gd name="T2" fmla="*/ 12 w 61"/>
                <a:gd name="T3" fmla="*/ 42 h 78"/>
                <a:gd name="T4" fmla="*/ 12 w 61"/>
                <a:gd name="T5" fmla="*/ 44 h 78"/>
                <a:gd name="T6" fmla="*/ 32 w 61"/>
                <a:gd name="T7" fmla="*/ 67 h 78"/>
                <a:gd name="T8" fmla="*/ 56 w 61"/>
                <a:gd name="T9" fmla="*/ 65 h 78"/>
                <a:gd name="T10" fmla="*/ 57 w 61"/>
                <a:gd name="T11" fmla="*/ 65 h 78"/>
                <a:gd name="T12" fmla="*/ 59 w 61"/>
                <a:gd name="T13" fmla="*/ 67 h 78"/>
                <a:gd name="T14" fmla="*/ 59 w 61"/>
                <a:gd name="T15" fmla="*/ 72 h 78"/>
                <a:gd name="T16" fmla="*/ 56 w 61"/>
                <a:gd name="T17" fmla="*/ 75 h 78"/>
                <a:gd name="T18" fmla="*/ 32 w 61"/>
                <a:gd name="T19" fmla="*/ 78 h 78"/>
                <a:gd name="T20" fmla="*/ 0 w 61"/>
                <a:gd name="T21" fmla="*/ 44 h 78"/>
                <a:gd name="T22" fmla="*/ 0 w 61"/>
                <a:gd name="T23" fmla="*/ 32 h 78"/>
                <a:gd name="T24" fmla="*/ 31 w 61"/>
                <a:gd name="T25" fmla="*/ 0 h 78"/>
                <a:gd name="T26" fmla="*/ 61 w 61"/>
                <a:gd name="T27" fmla="*/ 32 h 78"/>
                <a:gd name="T28" fmla="*/ 61 w 61"/>
                <a:gd name="T29" fmla="*/ 39 h 78"/>
                <a:gd name="T30" fmla="*/ 59 w 61"/>
                <a:gd name="T31" fmla="*/ 42 h 78"/>
                <a:gd name="T32" fmla="*/ 49 w 61"/>
                <a:gd name="T33" fmla="*/ 32 h 78"/>
                <a:gd name="T34" fmla="*/ 31 w 61"/>
                <a:gd name="T35" fmla="*/ 10 h 78"/>
                <a:gd name="T36" fmla="*/ 12 w 61"/>
                <a:gd name="T37" fmla="*/ 32 h 78"/>
                <a:gd name="T38" fmla="*/ 12 w 61"/>
                <a:gd name="T39" fmla="*/ 33 h 78"/>
                <a:gd name="T40" fmla="*/ 49 w 61"/>
                <a:gd name="T41" fmla="*/ 33 h 78"/>
                <a:gd name="T42" fmla="*/ 49 w 61"/>
                <a:gd name="T43" fmla="*/ 3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1" h="78">
                  <a:moveTo>
                    <a:pt x="59" y="42"/>
                  </a:moveTo>
                  <a:cubicBezTo>
                    <a:pt x="12" y="42"/>
                    <a:pt x="12" y="42"/>
                    <a:pt x="12" y="42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61"/>
                    <a:pt x="19" y="67"/>
                    <a:pt x="32" y="67"/>
                  </a:cubicBezTo>
                  <a:cubicBezTo>
                    <a:pt x="40" y="67"/>
                    <a:pt x="50" y="66"/>
                    <a:pt x="56" y="65"/>
                  </a:cubicBezTo>
                  <a:cubicBezTo>
                    <a:pt x="56" y="65"/>
                    <a:pt x="57" y="65"/>
                    <a:pt x="57" y="65"/>
                  </a:cubicBezTo>
                  <a:cubicBezTo>
                    <a:pt x="58" y="65"/>
                    <a:pt x="59" y="66"/>
                    <a:pt x="59" y="67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4"/>
                    <a:pt x="58" y="75"/>
                    <a:pt x="56" y="75"/>
                  </a:cubicBezTo>
                  <a:cubicBezTo>
                    <a:pt x="48" y="77"/>
                    <a:pt x="41" y="78"/>
                    <a:pt x="32" y="78"/>
                  </a:cubicBezTo>
                  <a:cubicBezTo>
                    <a:pt x="16" y="78"/>
                    <a:pt x="0" y="70"/>
                    <a:pt x="0" y="4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2"/>
                    <a:pt x="11" y="0"/>
                    <a:pt x="31" y="0"/>
                  </a:cubicBezTo>
                  <a:cubicBezTo>
                    <a:pt x="51" y="0"/>
                    <a:pt x="61" y="12"/>
                    <a:pt x="61" y="32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41"/>
                    <a:pt x="60" y="42"/>
                    <a:pt x="59" y="42"/>
                  </a:cubicBezTo>
                  <a:close/>
                  <a:moveTo>
                    <a:pt x="49" y="32"/>
                  </a:moveTo>
                  <a:cubicBezTo>
                    <a:pt x="49" y="16"/>
                    <a:pt x="43" y="10"/>
                    <a:pt x="31" y="10"/>
                  </a:cubicBezTo>
                  <a:cubicBezTo>
                    <a:pt x="19" y="10"/>
                    <a:pt x="12" y="17"/>
                    <a:pt x="12" y="3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49" y="33"/>
                    <a:pt x="49" y="33"/>
                    <a:pt x="49" y="33"/>
                  </a:cubicBezTo>
                  <a:lnTo>
                    <a:pt x="49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" name="Freeform 24"/>
            <p:cNvSpPr>
              <a:spLocks noEditPoints="1"/>
            </p:cNvSpPr>
            <p:nvPr/>
          </p:nvSpPr>
          <p:spPr bwMode="auto">
            <a:xfrm>
              <a:off x="-1906587" y="2647950"/>
              <a:ext cx="441325" cy="441325"/>
            </a:xfrm>
            <a:custGeom>
              <a:avLst/>
              <a:gdLst>
                <a:gd name="T0" fmla="*/ 78 w 234"/>
                <a:gd name="T1" fmla="*/ 178 h 234"/>
                <a:gd name="T2" fmla="*/ 78 w 234"/>
                <a:gd name="T3" fmla="*/ 232 h 234"/>
                <a:gd name="T4" fmla="*/ 60 w 234"/>
                <a:gd name="T5" fmla="*/ 232 h 234"/>
                <a:gd name="T6" fmla="*/ 60 w 234"/>
                <a:gd name="T7" fmla="*/ 181 h 234"/>
                <a:gd name="T8" fmla="*/ 4 w 234"/>
                <a:gd name="T9" fmla="*/ 190 h 234"/>
                <a:gd name="T10" fmla="*/ 0 w 234"/>
                <a:gd name="T11" fmla="*/ 170 h 234"/>
                <a:gd name="T12" fmla="*/ 60 w 234"/>
                <a:gd name="T13" fmla="*/ 162 h 234"/>
                <a:gd name="T14" fmla="*/ 60 w 234"/>
                <a:gd name="T15" fmla="*/ 126 h 234"/>
                <a:gd name="T16" fmla="*/ 33 w 234"/>
                <a:gd name="T17" fmla="*/ 126 h 234"/>
                <a:gd name="T18" fmla="*/ 14 w 234"/>
                <a:gd name="T19" fmla="*/ 129 h 234"/>
                <a:gd name="T20" fmla="*/ 8 w 234"/>
                <a:gd name="T21" fmla="*/ 112 h 234"/>
                <a:gd name="T22" fmla="*/ 22 w 234"/>
                <a:gd name="T23" fmla="*/ 92 h 234"/>
                <a:gd name="T24" fmla="*/ 38 w 234"/>
                <a:gd name="T25" fmla="*/ 49 h 234"/>
                <a:gd name="T26" fmla="*/ 3 w 234"/>
                <a:gd name="T27" fmla="*/ 49 h 234"/>
                <a:gd name="T28" fmla="*/ 3 w 234"/>
                <a:gd name="T29" fmla="*/ 31 h 234"/>
                <a:gd name="T30" fmla="*/ 44 w 234"/>
                <a:gd name="T31" fmla="*/ 31 h 234"/>
                <a:gd name="T32" fmla="*/ 51 w 234"/>
                <a:gd name="T33" fmla="*/ 1 h 234"/>
                <a:gd name="T34" fmla="*/ 70 w 234"/>
                <a:gd name="T35" fmla="*/ 5 h 234"/>
                <a:gd name="T36" fmla="*/ 63 w 234"/>
                <a:gd name="T37" fmla="*/ 31 h 234"/>
                <a:gd name="T38" fmla="*/ 111 w 234"/>
                <a:gd name="T39" fmla="*/ 31 h 234"/>
                <a:gd name="T40" fmla="*/ 111 w 234"/>
                <a:gd name="T41" fmla="*/ 49 h 234"/>
                <a:gd name="T42" fmla="*/ 57 w 234"/>
                <a:gd name="T43" fmla="*/ 49 h 234"/>
                <a:gd name="T44" fmla="*/ 33 w 234"/>
                <a:gd name="T45" fmla="*/ 108 h 234"/>
                <a:gd name="T46" fmla="*/ 60 w 234"/>
                <a:gd name="T47" fmla="*/ 108 h 234"/>
                <a:gd name="T48" fmla="*/ 60 w 234"/>
                <a:gd name="T49" fmla="*/ 71 h 234"/>
                <a:gd name="T50" fmla="*/ 78 w 234"/>
                <a:gd name="T51" fmla="*/ 71 h 234"/>
                <a:gd name="T52" fmla="*/ 78 w 234"/>
                <a:gd name="T53" fmla="*/ 108 h 234"/>
                <a:gd name="T54" fmla="*/ 110 w 234"/>
                <a:gd name="T55" fmla="*/ 108 h 234"/>
                <a:gd name="T56" fmla="*/ 110 w 234"/>
                <a:gd name="T57" fmla="*/ 126 h 234"/>
                <a:gd name="T58" fmla="*/ 78 w 234"/>
                <a:gd name="T59" fmla="*/ 126 h 234"/>
                <a:gd name="T60" fmla="*/ 78 w 234"/>
                <a:gd name="T61" fmla="*/ 160 h 234"/>
                <a:gd name="T62" fmla="*/ 111 w 234"/>
                <a:gd name="T63" fmla="*/ 155 h 234"/>
                <a:gd name="T64" fmla="*/ 112 w 234"/>
                <a:gd name="T65" fmla="*/ 172 h 234"/>
                <a:gd name="T66" fmla="*/ 78 w 234"/>
                <a:gd name="T67" fmla="*/ 178 h 234"/>
                <a:gd name="T68" fmla="*/ 176 w 234"/>
                <a:gd name="T69" fmla="*/ 93 h 234"/>
                <a:gd name="T70" fmla="*/ 176 w 234"/>
                <a:gd name="T71" fmla="*/ 116 h 234"/>
                <a:gd name="T72" fmla="*/ 234 w 234"/>
                <a:gd name="T73" fmla="*/ 218 h 234"/>
                <a:gd name="T74" fmla="*/ 222 w 234"/>
                <a:gd name="T75" fmla="*/ 233 h 234"/>
                <a:gd name="T76" fmla="*/ 169 w 234"/>
                <a:gd name="T77" fmla="*/ 155 h 234"/>
                <a:gd name="T78" fmla="*/ 114 w 234"/>
                <a:gd name="T79" fmla="*/ 234 h 234"/>
                <a:gd name="T80" fmla="*/ 100 w 234"/>
                <a:gd name="T81" fmla="*/ 221 h 234"/>
                <a:gd name="T82" fmla="*/ 158 w 234"/>
                <a:gd name="T83" fmla="*/ 92 h 234"/>
                <a:gd name="T84" fmla="*/ 158 w 234"/>
                <a:gd name="T85" fmla="*/ 81 h 234"/>
                <a:gd name="T86" fmla="*/ 176 w 234"/>
                <a:gd name="T87" fmla="*/ 81 h 234"/>
                <a:gd name="T88" fmla="*/ 176 w 234"/>
                <a:gd name="T89" fmla="*/ 93 h 234"/>
                <a:gd name="T90" fmla="*/ 147 w 234"/>
                <a:gd name="T91" fmla="*/ 57 h 234"/>
                <a:gd name="T92" fmla="*/ 122 w 234"/>
                <a:gd name="T93" fmla="*/ 111 h 234"/>
                <a:gd name="T94" fmla="*/ 107 w 234"/>
                <a:gd name="T95" fmla="*/ 101 h 234"/>
                <a:gd name="T96" fmla="*/ 140 w 234"/>
                <a:gd name="T97" fmla="*/ 0 h 234"/>
                <a:gd name="T98" fmla="*/ 158 w 234"/>
                <a:gd name="T99" fmla="*/ 3 h 234"/>
                <a:gd name="T100" fmla="*/ 151 w 234"/>
                <a:gd name="T101" fmla="*/ 39 h 234"/>
                <a:gd name="T102" fmla="*/ 218 w 234"/>
                <a:gd name="T103" fmla="*/ 39 h 234"/>
                <a:gd name="T104" fmla="*/ 220 w 234"/>
                <a:gd name="T105" fmla="*/ 39 h 234"/>
                <a:gd name="T106" fmla="*/ 233 w 234"/>
                <a:gd name="T107" fmla="*/ 42 h 234"/>
                <a:gd name="T108" fmla="*/ 216 w 234"/>
                <a:gd name="T109" fmla="*/ 110 h 234"/>
                <a:gd name="T110" fmla="*/ 200 w 234"/>
                <a:gd name="T111" fmla="*/ 106 h 234"/>
                <a:gd name="T112" fmla="*/ 212 w 234"/>
                <a:gd name="T113" fmla="*/ 57 h 234"/>
                <a:gd name="T114" fmla="*/ 147 w 234"/>
                <a:gd name="T115" fmla="*/ 5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4" h="234">
                  <a:moveTo>
                    <a:pt x="78" y="178"/>
                  </a:moveTo>
                  <a:cubicBezTo>
                    <a:pt x="78" y="232"/>
                    <a:pt x="78" y="232"/>
                    <a:pt x="78" y="232"/>
                  </a:cubicBezTo>
                  <a:cubicBezTo>
                    <a:pt x="60" y="232"/>
                    <a:pt x="60" y="232"/>
                    <a:pt x="60" y="232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40" y="184"/>
                    <a:pt x="20" y="187"/>
                    <a:pt x="4" y="190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16" y="169"/>
                    <a:pt x="37" y="166"/>
                    <a:pt x="60" y="162"/>
                  </a:cubicBezTo>
                  <a:cubicBezTo>
                    <a:pt x="60" y="126"/>
                    <a:pt x="60" y="126"/>
                    <a:pt x="60" y="126"/>
                  </a:cubicBezTo>
                  <a:cubicBezTo>
                    <a:pt x="33" y="126"/>
                    <a:pt x="33" y="126"/>
                    <a:pt x="33" y="126"/>
                  </a:cubicBezTo>
                  <a:cubicBezTo>
                    <a:pt x="24" y="126"/>
                    <a:pt x="16" y="127"/>
                    <a:pt x="14" y="129"/>
                  </a:cubicBezTo>
                  <a:cubicBezTo>
                    <a:pt x="13" y="125"/>
                    <a:pt x="10" y="117"/>
                    <a:pt x="8" y="112"/>
                  </a:cubicBezTo>
                  <a:cubicBezTo>
                    <a:pt x="13" y="111"/>
                    <a:pt x="16" y="103"/>
                    <a:pt x="22" y="92"/>
                  </a:cubicBezTo>
                  <a:cubicBezTo>
                    <a:pt x="25" y="86"/>
                    <a:pt x="31" y="69"/>
                    <a:pt x="38" y="49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7" y="21"/>
                    <a:pt x="49" y="11"/>
                    <a:pt x="51" y="1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68" y="13"/>
                    <a:pt x="65" y="22"/>
                    <a:pt x="63" y="31"/>
                  </a:cubicBezTo>
                  <a:cubicBezTo>
                    <a:pt x="111" y="31"/>
                    <a:pt x="111" y="31"/>
                    <a:pt x="111" y="31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49" y="70"/>
                    <a:pt x="41" y="91"/>
                    <a:pt x="33" y="108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78" y="108"/>
                    <a:pt x="78" y="108"/>
                    <a:pt x="78" y="108"/>
                  </a:cubicBezTo>
                  <a:cubicBezTo>
                    <a:pt x="110" y="108"/>
                    <a:pt x="110" y="108"/>
                    <a:pt x="110" y="108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78" y="126"/>
                    <a:pt x="78" y="126"/>
                    <a:pt x="78" y="126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72"/>
                    <a:pt x="112" y="172"/>
                    <a:pt x="112" y="172"/>
                  </a:cubicBezTo>
                  <a:lnTo>
                    <a:pt x="78" y="178"/>
                  </a:lnTo>
                  <a:close/>
                  <a:moveTo>
                    <a:pt x="176" y="93"/>
                  </a:moveTo>
                  <a:cubicBezTo>
                    <a:pt x="176" y="100"/>
                    <a:pt x="176" y="107"/>
                    <a:pt x="176" y="116"/>
                  </a:cubicBezTo>
                  <a:cubicBezTo>
                    <a:pt x="185" y="161"/>
                    <a:pt x="203" y="201"/>
                    <a:pt x="234" y="218"/>
                  </a:cubicBezTo>
                  <a:cubicBezTo>
                    <a:pt x="231" y="221"/>
                    <a:pt x="225" y="228"/>
                    <a:pt x="222" y="233"/>
                  </a:cubicBezTo>
                  <a:cubicBezTo>
                    <a:pt x="196" y="218"/>
                    <a:pt x="180" y="190"/>
                    <a:pt x="169" y="155"/>
                  </a:cubicBezTo>
                  <a:cubicBezTo>
                    <a:pt x="161" y="182"/>
                    <a:pt x="146" y="210"/>
                    <a:pt x="114" y="234"/>
                  </a:cubicBezTo>
                  <a:cubicBezTo>
                    <a:pt x="111" y="229"/>
                    <a:pt x="105" y="224"/>
                    <a:pt x="100" y="221"/>
                  </a:cubicBezTo>
                  <a:cubicBezTo>
                    <a:pt x="155" y="181"/>
                    <a:pt x="158" y="128"/>
                    <a:pt x="158" y="92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76" y="81"/>
                    <a:pt x="176" y="81"/>
                    <a:pt x="176" y="81"/>
                  </a:cubicBezTo>
                  <a:lnTo>
                    <a:pt x="176" y="93"/>
                  </a:lnTo>
                  <a:close/>
                  <a:moveTo>
                    <a:pt x="147" y="57"/>
                  </a:moveTo>
                  <a:cubicBezTo>
                    <a:pt x="140" y="78"/>
                    <a:pt x="132" y="97"/>
                    <a:pt x="122" y="111"/>
                  </a:cubicBezTo>
                  <a:cubicBezTo>
                    <a:pt x="119" y="108"/>
                    <a:pt x="111" y="103"/>
                    <a:pt x="107" y="101"/>
                  </a:cubicBezTo>
                  <a:cubicBezTo>
                    <a:pt x="124" y="77"/>
                    <a:pt x="134" y="40"/>
                    <a:pt x="140" y="0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56" y="16"/>
                    <a:pt x="154" y="28"/>
                    <a:pt x="151" y="39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20" y="39"/>
                    <a:pt x="220" y="39"/>
                    <a:pt x="220" y="39"/>
                  </a:cubicBezTo>
                  <a:cubicBezTo>
                    <a:pt x="233" y="42"/>
                    <a:pt x="233" y="42"/>
                    <a:pt x="233" y="42"/>
                  </a:cubicBezTo>
                  <a:cubicBezTo>
                    <a:pt x="228" y="66"/>
                    <a:pt x="221" y="93"/>
                    <a:pt x="216" y="110"/>
                  </a:cubicBezTo>
                  <a:cubicBezTo>
                    <a:pt x="200" y="106"/>
                    <a:pt x="200" y="106"/>
                    <a:pt x="200" y="106"/>
                  </a:cubicBezTo>
                  <a:cubicBezTo>
                    <a:pt x="204" y="93"/>
                    <a:pt x="208" y="74"/>
                    <a:pt x="212" y="57"/>
                  </a:cubicBezTo>
                  <a:lnTo>
                    <a:pt x="147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" name="Freeform 25"/>
            <p:cNvSpPr>
              <a:spLocks noEditPoints="1"/>
            </p:cNvSpPr>
            <p:nvPr/>
          </p:nvSpPr>
          <p:spPr bwMode="auto">
            <a:xfrm>
              <a:off x="-1428750" y="2649538"/>
              <a:ext cx="436563" cy="439737"/>
            </a:xfrm>
            <a:custGeom>
              <a:avLst/>
              <a:gdLst>
                <a:gd name="T0" fmla="*/ 77 w 232"/>
                <a:gd name="T1" fmla="*/ 6 h 233"/>
                <a:gd name="T2" fmla="*/ 52 w 232"/>
                <a:gd name="T3" fmla="*/ 61 h 233"/>
                <a:gd name="T4" fmla="*/ 52 w 232"/>
                <a:gd name="T5" fmla="*/ 232 h 233"/>
                <a:gd name="T6" fmla="*/ 34 w 232"/>
                <a:gd name="T7" fmla="*/ 232 h 233"/>
                <a:gd name="T8" fmla="*/ 34 w 232"/>
                <a:gd name="T9" fmla="*/ 90 h 233"/>
                <a:gd name="T10" fmla="*/ 10 w 232"/>
                <a:gd name="T11" fmla="*/ 120 h 233"/>
                <a:gd name="T12" fmla="*/ 0 w 232"/>
                <a:gd name="T13" fmla="*/ 102 h 233"/>
                <a:gd name="T14" fmla="*/ 59 w 232"/>
                <a:gd name="T15" fmla="*/ 0 h 233"/>
                <a:gd name="T16" fmla="*/ 77 w 232"/>
                <a:gd name="T17" fmla="*/ 6 h 233"/>
                <a:gd name="T18" fmla="*/ 232 w 232"/>
                <a:gd name="T19" fmla="*/ 144 h 233"/>
                <a:gd name="T20" fmla="*/ 163 w 232"/>
                <a:gd name="T21" fmla="*/ 144 h 233"/>
                <a:gd name="T22" fmla="*/ 163 w 232"/>
                <a:gd name="T23" fmla="*/ 233 h 233"/>
                <a:gd name="T24" fmla="*/ 144 w 232"/>
                <a:gd name="T25" fmla="*/ 233 h 233"/>
                <a:gd name="T26" fmla="*/ 144 w 232"/>
                <a:gd name="T27" fmla="*/ 144 h 233"/>
                <a:gd name="T28" fmla="*/ 72 w 232"/>
                <a:gd name="T29" fmla="*/ 144 h 233"/>
                <a:gd name="T30" fmla="*/ 72 w 232"/>
                <a:gd name="T31" fmla="*/ 126 h 233"/>
                <a:gd name="T32" fmla="*/ 144 w 232"/>
                <a:gd name="T33" fmla="*/ 126 h 233"/>
                <a:gd name="T34" fmla="*/ 144 w 232"/>
                <a:gd name="T35" fmla="*/ 70 h 233"/>
                <a:gd name="T36" fmla="*/ 104 w 232"/>
                <a:gd name="T37" fmla="*/ 70 h 233"/>
                <a:gd name="T38" fmla="*/ 86 w 232"/>
                <a:gd name="T39" fmla="*/ 109 h 233"/>
                <a:gd name="T40" fmla="*/ 69 w 232"/>
                <a:gd name="T41" fmla="*/ 99 h 233"/>
                <a:gd name="T42" fmla="*/ 101 w 232"/>
                <a:gd name="T43" fmla="*/ 12 h 233"/>
                <a:gd name="T44" fmla="*/ 119 w 232"/>
                <a:gd name="T45" fmla="*/ 16 h 233"/>
                <a:gd name="T46" fmla="*/ 110 w 232"/>
                <a:gd name="T47" fmla="*/ 51 h 233"/>
                <a:gd name="T48" fmla="*/ 144 w 232"/>
                <a:gd name="T49" fmla="*/ 51 h 233"/>
                <a:gd name="T50" fmla="*/ 144 w 232"/>
                <a:gd name="T51" fmla="*/ 3 h 233"/>
                <a:gd name="T52" fmla="*/ 163 w 232"/>
                <a:gd name="T53" fmla="*/ 3 h 233"/>
                <a:gd name="T54" fmla="*/ 163 w 232"/>
                <a:gd name="T55" fmla="*/ 51 h 233"/>
                <a:gd name="T56" fmla="*/ 221 w 232"/>
                <a:gd name="T57" fmla="*/ 51 h 233"/>
                <a:gd name="T58" fmla="*/ 221 w 232"/>
                <a:gd name="T59" fmla="*/ 70 h 233"/>
                <a:gd name="T60" fmla="*/ 163 w 232"/>
                <a:gd name="T61" fmla="*/ 70 h 233"/>
                <a:gd name="T62" fmla="*/ 163 w 232"/>
                <a:gd name="T63" fmla="*/ 126 h 233"/>
                <a:gd name="T64" fmla="*/ 232 w 232"/>
                <a:gd name="T65" fmla="*/ 126 h 233"/>
                <a:gd name="T66" fmla="*/ 232 w 232"/>
                <a:gd name="T67" fmla="*/ 144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2" h="233">
                  <a:moveTo>
                    <a:pt x="77" y="6"/>
                  </a:moveTo>
                  <a:cubicBezTo>
                    <a:pt x="70" y="24"/>
                    <a:pt x="62" y="43"/>
                    <a:pt x="52" y="61"/>
                  </a:cubicBezTo>
                  <a:cubicBezTo>
                    <a:pt x="52" y="232"/>
                    <a:pt x="52" y="232"/>
                    <a:pt x="52" y="232"/>
                  </a:cubicBezTo>
                  <a:cubicBezTo>
                    <a:pt x="34" y="232"/>
                    <a:pt x="34" y="232"/>
                    <a:pt x="34" y="232"/>
                  </a:cubicBezTo>
                  <a:cubicBezTo>
                    <a:pt x="34" y="90"/>
                    <a:pt x="34" y="90"/>
                    <a:pt x="34" y="90"/>
                  </a:cubicBezTo>
                  <a:cubicBezTo>
                    <a:pt x="26" y="101"/>
                    <a:pt x="18" y="111"/>
                    <a:pt x="10" y="120"/>
                  </a:cubicBezTo>
                  <a:cubicBezTo>
                    <a:pt x="8" y="116"/>
                    <a:pt x="3" y="106"/>
                    <a:pt x="0" y="102"/>
                  </a:cubicBezTo>
                  <a:cubicBezTo>
                    <a:pt x="23" y="77"/>
                    <a:pt x="46" y="39"/>
                    <a:pt x="59" y="0"/>
                  </a:cubicBezTo>
                  <a:lnTo>
                    <a:pt x="77" y="6"/>
                  </a:lnTo>
                  <a:close/>
                  <a:moveTo>
                    <a:pt x="232" y="144"/>
                  </a:moveTo>
                  <a:cubicBezTo>
                    <a:pt x="163" y="144"/>
                    <a:pt x="163" y="144"/>
                    <a:pt x="163" y="144"/>
                  </a:cubicBezTo>
                  <a:cubicBezTo>
                    <a:pt x="163" y="233"/>
                    <a:pt x="163" y="233"/>
                    <a:pt x="163" y="233"/>
                  </a:cubicBezTo>
                  <a:cubicBezTo>
                    <a:pt x="144" y="233"/>
                    <a:pt x="144" y="233"/>
                    <a:pt x="144" y="233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72" y="144"/>
                    <a:pt x="72" y="144"/>
                    <a:pt x="72" y="144"/>
                  </a:cubicBezTo>
                  <a:cubicBezTo>
                    <a:pt x="72" y="126"/>
                    <a:pt x="72" y="126"/>
                    <a:pt x="72" y="126"/>
                  </a:cubicBezTo>
                  <a:cubicBezTo>
                    <a:pt x="144" y="126"/>
                    <a:pt x="144" y="126"/>
                    <a:pt x="144" y="126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04" y="70"/>
                    <a:pt x="104" y="70"/>
                    <a:pt x="104" y="70"/>
                  </a:cubicBezTo>
                  <a:cubicBezTo>
                    <a:pt x="99" y="85"/>
                    <a:pt x="93" y="98"/>
                    <a:pt x="86" y="109"/>
                  </a:cubicBezTo>
                  <a:cubicBezTo>
                    <a:pt x="82" y="106"/>
                    <a:pt x="74" y="101"/>
                    <a:pt x="69" y="99"/>
                  </a:cubicBezTo>
                  <a:cubicBezTo>
                    <a:pt x="85" y="78"/>
                    <a:pt x="95" y="45"/>
                    <a:pt x="101" y="12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116" y="28"/>
                    <a:pt x="114" y="40"/>
                    <a:pt x="110" y="51"/>
                  </a:cubicBezTo>
                  <a:cubicBezTo>
                    <a:pt x="144" y="51"/>
                    <a:pt x="144" y="51"/>
                    <a:pt x="144" y="51"/>
                  </a:cubicBezTo>
                  <a:cubicBezTo>
                    <a:pt x="144" y="3"/>
                    <a:pt x="144" y="3"/>
                    <a:pt x="144" y="3"/>
                  </a:cubicBezTo>
                  <a:cubicBezTo>
                    <a:pt x="163" y="3"/>
                    <a:pt x="163" y="3"/>
                    <a:pt x="163" y="3"/>
                  </a:cubicBezTo>
                  <a:cubicBezTo>
                    <a:pt x="163" y="51"/>
                    <a:pt x="163" y="51"/>
                    <a:pt x="163" y="51"/>
                  </a:cubicBezTo>
                  <a:cubicBezTo>
                    <a:pt x="221" y="51"/>
                    <a:pt x="221" y="51"/>
                    <a:pt x="221" y="51"/>
                  </a:cubicBezTo>
                  <a:cubicBezTo>
                    <a:pt x="221" y="70"/>
                    <a:pt x="221" y="70"/>
                    <a:pt x="221" y="70"/>
                  </a:cubicBezTo>
                  <a:cubicBezTo>
                    <a:pt x="163" y="70"/>
                    <a:pt x="163" y="70"/>
                    <a:pt x="163" y="70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232" y="126"/>
                    <a:pt x="232" y="126"/>
                    <a:pt x="232" y="126"/>
                  </a:cubicBezTo>
                  <a:lnTo>
                    <a:pt x="232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" name="Freeform 26"/>
            <p:cNvSpPr>
              <a:spLocks noEditPoints="1"/>
            </p:cNvSpPr>
            <p:nvPr/>
          </p:nvSpPr>
          <p:spPr bwMode="auto">
            <a:xfrm>
              <a:off x="-942975" y="2649538"/>
              <a:ext cx="417513" cy="439737"/>
            </a:xfrm>
            <a:custGeom>
              <a:avLst/>
              <a:gdLst>
                <a:gd name="T0" fmla="*/ 110 w 222"/>
                <a:gd name="T1" fmla="*/ 53 h 233"/>
                <a:gd name="T2" fmla="*/ 81 w 222"/>
                <a:gd name="T3" fmla="*/ 168 h 233"/>
                <a:gd name="T4" fmla="*/ 109 w 222"/>
                <a:gd name="T5" fmla="*/ 195 h 233"/>
                <a:gd name="T6" fmla="*/ 97 w 222"/>
                <a:gd name="T7" fmla="*/ 211 h 233"/>
                <a:gd name="T8" fmla="*/ 71 w 222"/>
                <a:gd name="T9" fmla="*/ 185 h 233"/>
                <a:gd name="T10" fmla="*/ 12 w 222"/>
                <a:gd name="T11" fmla="*/ 233 h 233"/>
                <a:gd name="T12" fmla="*/ 0 w 222"/>
                <a:gd name="T13" fmla="*/ 217 h 233"/>
                <a:gd name="T14" fmla="*/ 57 w 222"/>
                <a:gd name="T15" fmla="*/ 172 h 233"/>
                <a:gd name="T16" fmla="*/ 13 w 222"/>
                <a:gd name="T17" fmla="*/ 138 h 233"/>
                <a:gd name="T18" fmla="*/ 31 w 222"/>
                <a:gd name="T19" fmla="*/ 69 h 233"/>
                <a:gd name="T20" fmla="*/ 0 w 222"/>
                <a:gd name="T21" fmla="*/ 69 h 233"/>
                <a:gd name="T22" fmla="*/ 0 w 222"/>
                <a:gd name="T23" fmla="*/ 52 h 233"/>
                <a:gd name="T24" fmla="*/ 35 w 222"/>
                <a:gd name="T25" fmla="*/ 52 h 233"/>
                <a:gd name="T26" fmla="*/ 43 w 222"/>
                <a:gd name="T27" fmla="*/ 0 h 233"/>
                <a:gd name="T28" fmla="*/ 62 w 222"/>
                <a:gd name="T29" fmla="*/ 1 h 233"/>
                <a:gd name="T30" fmla="*/ 53 w 222"/>
                <a:gd name="T31" fmla="*/ 52 h 233"/>
                <a:gd name="T32" fmla="*/ 94 w 222"/>
                <a:gd name="T33" fmla="*/ 52 h 233"/>
                <a:gd name="T34" fmla="*/ 98 w 222"/>
                <a:gd name="T35" fmla="*/ 51 h 233"/>
                <a:gd name="T36" fmla="*/ 110 w 222"/>
                <a:gd name="T37" fmla="*/ 53 h 233"/>
                <a:gd name="T38" fmla="*/ 50 w 222"/>
                <a:gd name="T39" fmla="*/ 69 h 233"/>
                <a:gd name="T40" fmla="*/ 34 w 222"/>
                <a:gd name="T41" fmla="*/ 131 h 233"/>
                <a:gd name="T42" fmla="*/ 67 w 222"/>
                <a:gd name="T43" fmla="*/ 156 h 233"/>
                <a:gd name="T44" fmla="*/ 90 w 222"/>
                <a:gd name="T45" fmla="*/ 69 h 233"/>
                <a:gd name="T46" fmla="*/ 50 w 222"/>
                <a:gd name="T47" fmla="*/ 69 h 233"/>
                <a:gd name="T48" fmla="*/ 222 w 222"/>
                <a:gd name="T49" fmla="*/ 27 h 233"/>
                <a:gd name="T50" fmla="*/ 222 w 222"/>
                <a:gd name="T51" fmla="*/ 222 h 233"/>
                <a:gd name="T52" fmla="*/ 204 w 222"/>
                <a:gd name="T53" fmla="*/ 222 h 233"/>
                <a:gd name="T54" fmla="*/ 204 w 222"/>
                <a:gd name="T55" fmla="*/ 207 h 233"/>
                <a:gd name="T56" fmla="*/ 141 w 222"/>
                <a:gd name="T57" fmla="*/ 207 h 233"/>
                <a:gd name="T58" fmla="*/ 141 w 222"/>
                <a:gd name="T59" fmla="*/ 226 h 233"/>
                <a:gd name="T60" fmla="*/ 123 w 222"/>
                <a:gd name="T61" fmla="*/ 226 h 233"/>
                <a:gd name="T62" fmla="*/ 123 w 222"/>
                <a:gd name="T63" fmla="*/ 27 h 233"/>
                <a:gd name="T64" fmla="*/ 222 w 222"/>
                <a:gd name="T65" fmla="*/ 27 h 233"/>
                <a:gd name="T66" fmla="*/ 204 w 222"/>
                <a:gd name="T67" fmla="*/ 189 h 233"/>
                <a:gd name="T68" fmla="*/ 204 w 222"/>
                <a:gd name="T69" fmla="*/ 45 h 233"/>
                <a:gd name="T70" fmla="*/ 141 w 222"/>
                <a:gd name="T71" fmla="*/ 45 h 233"/>
                <a:gd name="T72" fmla="*/ 141 w 222"/>
                <a:gd name="T73" fmla="*/ 189 h 233"/>
                <a:gd name="T74" fmla="*/ 204 w 222"/>
                <a:gd name="T75" fmla="*/ 18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2" h="233">
                  <a:moveTo>
                    <a:pt x="110" y="53"/>
                  </a:moveTo>
                  <a:cubicBezTo>
                    <a:pt x="106" y="102"/>
                    <a:pt x="97" y="140"/>
                    <a:pt x="81" y="168"/>
                  </a:cubicBezTo>
                  <a:cubicBezTo>
                    <a:pt x="93" y="178"/>
                    <a:pt x="103" y="187"/>
                    <a:pt x="109" y="195"/>
                  </a:cubicBezTo>
                  <a:cubicBezTo>
                    <a:pt x="97" y="211"/>
                    <a:pt x="97" y="211"/>
                    <a:pt x="97" y="211"/>
                  </a:cubicBezTo>
                  <a:cubicBezTo>
                    <a:pt x="90" y="203"/>
                    <a:pt x="81" y="194"/>
                    <a:pt x="71" y="185"/>
                  </a:cubicBezTo>
                  <a:cubicBezTo>
                    <a:pt x="56" y="207"/>
                    <a:pt x="36" y="222"/>
                    <a:pt x="12" y="233"/>
                  </a:cubicBezTo>
                  <a:cubicBezTo>
                    <a:pt x="10" y="228"/>
                    <a:pt x="4" y="221"/>
                    <a:pt x="0" y="217"/>
                  </a:cubicBezTo>
                  <a:cubicBezTo>
                    <a:pt x="23" y="208"/>
                    <a:pt x="42" y="194"/>
                    <a:pt x="57" y="172"/>
                  </a:cubicBezTo>
                  <a:cubicBezTo>
                    <a:pt x="42" y="160"/>
                    <a:pt x="27" y="148"/>
                    <a:pt x="13" y="138"/>
                  </a:cubicBezTo>
                  <a:cubicBezTo>
                    <a:pt x="19" y="120"/>
                    <a:pt x="26" y="95"/>
                    <a:pt x="31" y="69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9" y="34"/>
                    <a:pt x="41" y="16"/>
                    <a:pt x="43" y="0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0" y="17"/>
                    <a:pt x="57" y="34"/>
                    <a:pt x="53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8" y="51"/>
                    <a:pt x="98" y="51"/>
                    <a:pt x="98" y="51"/>
                  </a:cubicBezTo>
                  <a:lnTo>
                    <a:pt x="110" y="53"/>
                  </a:lnTo>
                  <a:close/>
                  <a:moveTo>
                    <a:pt x="50" y="69"/>
                  </a:moveTo>
                  <a:cubicBezTo>
                    <a:pt x="45" y="92"/>
                    <a:pt x="39" y="113"/>
                    <a:pt x="34" y="131"/>
                  </a:cubicBezTo>
                  <a:cubicBezTo>
                    <a:pt x="44" y="139"/>
                    <a:pt x="56" y="147"/>
                    <a:pt x="67" y="156"/>
                  </a:cubicBezTo>
                  <a:cubicBezTo>
                    <a:pt x="78" y="133"/>
                    <a:pt x="86" y="104"/>
                    <a:pt x="90" y="69"/>
                  </a:cubicBezTo>
                  <a:lnTo>
                    <a:pt x="50" y="69"/>
                  </a:lnTo>
                  <a:close/>
                  <a:moveTo>
                    <a:pt x="222" y="27"/>
                  </a:moveTo>
                  <a:cubicBezTo>
                    <a:pt x="222" y="222"/>
                    <a:pt x="222" y="222"/>
                    <a:pt x="222" y="222"/>
                  </a:cubicBezTo>
                  <a:cubicBezTo>
                    <a:pt x="204" y="222"/>
                    <a:pt x="204" y="222"/>
                    <a:pt x="204" y="222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141" y="207"/>
                    <a:pt x="141" y="207"/>
                    <a:pt x="141" y="207"/>
                  </a:cubicBezTo>
                  <a:cubicBezTo>
                    <a:pt x="141" y="226"/>
                    <a:pt x="141" y="226"/>
                    <a:pt x="141" y="226"/>
                  </a:cubicBezTo>
                  <a:cubicBezTo>
                    <a:pt x="123" y="226"/>
                    <a:pt x="123" y="226"/>
                    <a:pt x="123" y="226"/>
                  </a:cubicBezTo>
                  <a:cubicBezTo>
                    <a:pt x="123" y="27"/>
                    <a:pt x="123" y="27"/>
                    <a:pt x="123" y="27"/>
                  </a:cubicBezTo>
                  <a:lnTo>
                    <a:pt x="222" y="27"/>
                  </a:lnTo>
                  <a:close/>
                  <a:moveTo>
                    <a:pt x="204" y="189"/>
                  </a:moveTo>
                  <a:cubicBezTo>
                    <a:pt x="204" y="45"/>
                    <a:pt x="204" y="45"/>
                    <a:pt x="204" y="45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1" y="189"/>
                    <a:pt x="141" y="189"/>
                    <a:pt x="141" y="189"/>
                  </a:cubicBezTo>
                  <a:lnTo>
                    <a:pt x="204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" name="Freeform 27"/>
            <p:cNvSpPr>
              <a:spLocks noEditPoints="1"/>
            </p:cNvSpPr>
            <p:nvPr/>
          </p:nvSpPr>
          <p:spPr bwMode="auto">
            <a:xfrm>
              <a:off x="-463550" y="2647950"/>
              <a:ext cx="442913" cy="433387"/>
            </a:xfrm>
            <a:custGeom>
              <a:avLst/>
              <a:gdLst>
                <a:gd name="T0" fmla="*/ 123 w 235"/>
                <a:gd name="T1" fmla="*/ 189 h 230"/>
                <a:gd name="T2" fmla="*/ 125 w 235"/>
                <a:gd name="T3" fmla="*/ 207 h 230"/>
                <a:gd name="T4" fmla="*/ 3 w 235"/>
                <a:gd name="T5" fmla="*/ 230 h 230"/>
                <a:gd name="T6" fmla="*/ 0 w 235"/>
                <a:gd name="T7" fmla="*/ 210 h 230"/>
                <a:gd name="T8" fmla="*/ 20 w 235"/>
                <a:gd name="T9" fmla="*/ 207 h 230"/>
                <a:gd name="T10" fmla="*/ 20 w 235"/>
                <a:gd name="T11" fmla="*/ 52 h 230"/>
                <a:gd name="T12" fmla="*/ 39 w 235"/>
                <a:gd name="T13" fmla="*/ 52 h 230"/>
                <a:gd name="T14" fmla="*/ 39 w 235"/>
                <a:gd name="T15" fmla="*/ 203 h 230"/>
                <a:gd name="T16" fmla="*/ 68 w 235"/>
                <a:gd name="T17" fmla="*/ 199 h 230"/>
                <a:gd name="T18" fmla="*/ 68 w 235"/>
                <a:gd name="T19" fmla="*/ 0 h 230"/>
                <a:gd name="T20" fmla="*/ 87 w 235"/>
                <a:gd name="T21" fmla="*/ 0 h 230"/>
                <a:gd name="T22" fmla="*/ 87 w 235"/>
                <a:gd name="T23" fmla="*/ 79 h 230"/>
                <a:gd name="T24" fmla="*/ 123 w 235"/>
                <a:gd name="T25" fmla="*/ 79 h 230"/>
                <a:gd name="T26" fmla="*/ 123 w 235"/>
                <a:gd name="T27" fmla="*/ 97 h 230"/>
                <a:gd name="T28" fmla="*/ 87 w 235"/>
                <a:gd name="T29" fmla="*/ 97 h 230"/>
                <a:gd name="T30" fmla="*/ 87 w 235"/>
                <a:gd name="T31" fmla="*/ 195 h 230"/>
                <a:gd name="T32" fmla="*/ 123 w 235"/>
                <a:gd name="T33" fmla="*/ 189 h 230"/>
                <a:gd name="T34" fmla="*/ 203 w 235"/>
                <a:gd name="T35" fmla="*/ 207 h 230"/>
                <a:gd name="T36" fmla="*/ 216 w 235"/>
                <a:gd name="T37" fmla="*/ 162 h 230"/>
                <a:gd name="T38" fmla="*/ 235 w 235"/>
                <a:gd name="T39" fmla="*/ 170 h 230"/>
                <a:gd name="T40" fmla="*/ 204 w 235"/>
                <a:gd name="T41" fmla="*/ 225 h 230"/>
                <a:gd name="T42" fmla="*/ 166 w 235"/>
                <a:gd name="T43" fmla="*/ 225 h 230"/>
                <a:gd name="T44" fmla="*/ 136 w 235"/>
                <a:gd name="T45" fmla="*/ 190 h 230"/>
                <a:gd name="T46" fmla="*/ 136 w 235"/>
                <a:gd name="T47" fmla="*/ 0 h 230"/>
                <a:gd name="T48" fmla="*/ 156 w 235"/>
                <a:gd name="T49" fmla="*/ 0 h 230"/>
                <a:gd name="T50" fmla="*/ 156 w 235"/>
                <a:gd name="T51" fmla="*/ 93 h 230"/>
                <a:gd name="T52" fmla="*/ 210 w 235"/>
                <a:gd name="T53" fmla="*/ 56 h 230"/>
                <a:gd name="T54" fmla="*/ 226 w 235"/>
                <a:gd name="T55" fmla="*/ 71 h 230"/>
                <a:gd name="T56" fmla="*/ 156 w 235"/>
                <a:gd name="T57" fmla="*/ 112 h 230"/>
                <a:gd name="T58" fmla="*/ 156 w 235"/>
                <a:gd name="T59" fmla="*/ 191 h 230"/>
                <a:gd name="T60" fmla="*/ 168 w 235"/>
                <a:gd name="T61" fmla="*/ 207 h 230"/>
                <a:gd name="T62" fmla="*/ 203 w 235"/>
                <a:gd name="T63" fmla="*/ 207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5" h="230">
                  <a:moveTo>
                    <a:pt x="123" y="189"/>
                  </a:moveTo>
                  <a:cubicBezTo>
                    <a:pt x="125" y="207"/>
                    <a:pt x="125" y="207"/>
                    <a:pt x="125" y="207"/>
                  </a:cubicBezTo>
                  <a:cubicBezTo>
                    <a:pt x="81" y="216"/>
                    <a:pt x="35" y="224"/>
                    <a:pt x="3" y="230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6" y="209"/>
                    <a:pt x="13" y="208"/>
                    <a:pt x="20" y="207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203"/>
                    <a:pt x="39" y="203"/>
                    <a:pt x="39" y="203"/>
                  </a:cubicBezTo>
                  <a:cubicBezTo>
                    <a:pt x="68" y="199"/>
                    <a:pt x="68" y="199"/>
                    <a:pt x="68" y="199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3" y="97"/>
                    <a:pt x="123" y="97"/>
                    <a:pt x="123" y="97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7" y="195"/>
                    <a:pt x="87" y="195"/>
                    <a:pt x="87" y="195"/>
                  </a:cubicBezTo>
                  <a:lnTo>
                    <a:pt x="123" y="189"/>
                  </a:lnTo>
                  <a:close/>
                  <a:moveTo>
                    <a:pt x="203" y="207"/>
                  </a:moveTo>
                  <a:cubicBezTo>
                    <a:pt x="214" y="207"/>
                    <a:pt x="215" y="198"/>
                    <a:pt x="216" y="162"/>
                  </a:cubicBezTo>
                  <a:cubicBezTo>
                    <a:pt x="222" y="165"/>
                    <a:pt x="229" y="169"/>
                    <a:pt x="235" y="170"/>
                  </a:cubicBezTo>
                  <a:cubicBezTo>
                    <a:pt x="232" y="211"/>
                    <a:pt x="227" y="225"/>
                    <a:pt x="204" y="225"/>
                  </a:cubicBezTo>
                  <a:cubicBezTo>
                    <a:pt x="166" y="225"/>
                    <a:pt x="166" y="225"/>
                    <a:pt x="166" y="225"/>
                  </a:cubicBezTo>
                  <a:cubicBezTo>
                    <a:pt x="142" y="225"/>
                    <a:pt x="136" y="218"/>
                    <a:pt x="136" y="19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56" y="93"/>
                    <a:pt x="156" y="93"/>
                    <a:pt x="156" y="93"/>
                  </a:cubicBezTo>
                  <a:cubicBezTo>
                    <a:pt x="176" y="82"/>
                    <a:pt x="197" y="68"/>
                    <a:pt x="210" y="56"/>
                  </a:cubicBezTo>
                  <a:cubicBezTo>
                    <a:pt x="226" y="71"/>
                    <a:pt x="226" y="71"/>
                    <a:pt x="226" y="71"/>
                  </a:cubicBezTo>
                  <a:cubicBezTo>
                    <a:pt x="206" y="85"/>
                    <a:pt x="180" y="100"/>
                    <a:pt x="156" y="112"/>
                  </a:cubicBezTo>
                  <a:cubicBezTo>
                    <a:pt x="156" y="191"/>
                    <a:pt x="156" y="191"/>
                    <a:pt x="156" y="191"/>
                  </a:cubicBezTo>
                  <a:cubicBezTo>
                    <a:pt x="156" y="204"/>
                    <a:pt x="157" y="207"/>
                    <a:pt x="168" y="207"/>
                  </a:cubicBezTo>
                  <a:lnTo>
                    <a:pt x="203" y="2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" name="Freeform 28"/>
            <p:cNvSpPr>
              <a:spLocks noEditPoints="1"/>
            </p:cNvSpPr>
            <p:nvPr/>
          </p:nvSpPr>
          <p:spPr bwMode="auto">
            <a:xfrm>
              <a:off x="20638" y="2647950"/>
              <a:ext cx="427038" cy="441325"/>
            </a:xfrm>
            <a:custGeom>
              <a:avLst/>
              <a:gdLst>
                <a:gd name="T0" fmla="*/ 227 w 227"/>
                <a:gd name="T1" fmla="*/ 118 h 234"/>
                <a:gd name="T2" fmla="*/ 192 w 227"/>
                <a:gd name="T3" fmla="*/ 118 h 234"/>
                <a:gd name="T4" fmla="*/ 192 w 227"/>
                <a:gd name="T5" fmla="*/ 210 h 234"/>
                <a:gd name="T6" fmla="*/ 180 w 227"/>
                <a:gd name="T7" fmla="*/ 230 h 234"/>
                <a:gd name="T8" fmla="*/ 132 w 227"/>
                <a:gd name="T9" fmla="*/ 234 h 234"/>
                <a:gd name="T10" fmla="*/ 125 w 227"/>
                <a:gd name="T11" fmla="*/ 215 h 234"/>
                <a:gd name="T12" fmla="*/ 167 w 227"/>
                <a:gd name="T13" fmla="*/ 216 h 234"/>
                <a:gd name="T14" fmla="*/ 173 w 227"/>
                <a:gd name="T15" fmla="*/ 210 h 234"/>
                <a:gd name="T16" fmla="*/ 173 w 227"/>
                <a:gd name="T17" fmla="*/ 118 h 234"/>
                <a:gd name="T18" fmla="*/ 0 w 227"/>
                <a:gd name="T19" fmla="*/ 118 h 234"/>
                <a:gd name="T20" fmla="*/ 0 w 227"/>
                <a:gd name="T21" fmla="*/ 101 h 234"/>
                <a:gd name="T22" fmla="*/ 227 w 227"/>
                <a:gd name="T23" fmla="*/ 101 h 234"/>
                <a:gd name="T24" fmla="*/ 227 w 227"/>
                <a:gd name="T25" fmla="*/ 118 h 234"/>
                <a:gd name="T26" fmla="*/ 197 w 227"/>
                <a:gd name="T27" fmla="*/ 98 h 234"/>
                <a:gd name="T28" fmla="*/ 107 w 227"/>
                <a:gd name="T29" fmla="*/ 61 h 234"/>
                <a:gd name="T30" fmla="*/ 18 w 227"/>
                <a:gd name="T31" fmla="*/ 99 h 234"/>
                <a:gd name="T32" fmla="*/ 9 w 227"/>
                <a:gd name="T33" fmla="*/ 84 h 234"/>
                <a:gd name="T34" fmla="*/ 98 w 227"/>
                <a:gd name="T35" fmla="*/ 41 h 234"/>
                <a:gd name="T36" fmla="*/ 13 w 227"/>
                <a:gd name="T37" fmla="*/ 41 h 234"/>
                <a:gd name="T38" fmla="*/ 13 w 227"/>
                <a:gd name="T39" fmla="*/ 24 h 234"/>
                <a:gd name="T40" fmla="*/ 103 w 227"/>
                <a:gd name="T41" fmla="*/ 24 h 234"/>
                <a:gd name="T42" fmla="*/ 107 w 227"/>
                <a:gd name="T43" fmla="*/ 0 h 234"/>
                <a:gd name="T44" fmla="*/ 126 w 227"/>
                <a:gd name="T45" fmla="*/ 0 h 234"/>
                <a:gd name="T46" fmla="*/ 123 w 227"/>
                <a:gd name="T47" fmla="*/ 24 h 234"/>
                <a:gd name="T48" fmla="*/ 215 w 227"/>
                <a:gd name="T49" fmla="*/ 24 h 234"/>
                <a:gd name="T50" fmla="*/ 215 w 227"/>
                <a:gd name="T51" fmla="*/ 41 h 234"/>
                <a:gd name="T52" fmla="*/ 118 w 227"/>
                <a:gd name="T53" fmla="*/ 41 h 234"/>
                <a:gd name="T54" fmla="*/ 116 w 227"/>
                <a:gd name="T55" fmla="*/ 47 h 234"/>
                <a:gd name="T56" fmla="*/ 211 w 227"/>
                <a:gd name="T57" fmla="*/ 85 h 234"/>
                <a:gd name="T58" fmla="*/ 197 w 227"/>
                <a:gd name="T59" fmla="*/ 98 h 234"/>
                <a:gd name="T60" fmla="*/ 45 w 227"/>
                <a:gd name="T61" fmla="*/ 204 h 234"/>
                <a:gd name="T62" fmla="*/ 45 w 227"/>
                <a:gd name="T63" fmla="*/ 221 h 234"/>
                <a:gd name="T64" fmla="*/ 27 w 227"/>
                <a:gd name="T65" fmla="*/ 221 h 234"/>
                <a:gd name="T66" fmla="*/ 27 w 227"/>
                <a:gd name="T67" fmla="*/ 138 h 234"/>
                <a:gd name="T68" fmla="*/ 128 w 227"/>
                <a:gd name="T69" fmla="*/ 138 h 234"/>
                <a:gd name="T70" fmla="*/ 128 w 227"/>
                <a:gd name="T71" fmla="*/ 204 h 234"/>
                <a:gd name="T72" fmla="*/ 45 w 227"/>
                <a:gd name="T73" fmla="*/ 204 h 234"/>
                <a:gd name="T74" fmla="*/ 45 w 227"/>
                <a:gd name="T75" fmla="*/ 154 h 234"/>
                <a:gd name="T76" fmla="*/ 45 w 227"/>
                <a:gd name="T77" fmla="*/ 189 h 234"/>
                <a:gd name="T78" fmla="*/ 110 w 227"/>
                <a:gd name="T79" fmla="*/ 189 h 234"/>
                <a:gd name="T80" fmla="*/ 110 w 227"/>
                <a:gd name="T81" fmla="*/ 154 h 234"/>
                <a:gd name="T82" fmla="*/ 45 w 227"/>
                <a:gd name="T83" fmla="*/ 15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27" h="234">
                  <a:moveTo>
                    <a:pt x="227" y="118"/>
                  </a:moveTo>
                  <a:cubicBezTo>
                    <a:pt x="192" y="118"/>
                    <a:pt x="192" y="118"/>
                    <a:pt x="192" y="118"/>
                  </a:cubicBezTo>
                  <a:cubicBezTo>
                    <a:pt x="192" y="210"/>
                    <a:pt x="192" y="210"/>
                    <a:pt x="192" y="210"/>
                  </a:cubicBezTo>
                  <a:cubicBezTo>
                    <a:pt x="192" y="222"/>
                    <a:pt x="189" y="227"/>
                    <a:pt x="180" y="230"/>
                  </a:cubicBezTo>
                  <a:cubicBezTo>
                    <a:pt x="171" y="233"/>
                    <a:pt x="155" y="234"/>
                    <a:pt x="132" y="234"/>
                  </a:cubicBezTo>
                  <a:cubicBezTo>
                    <a:pt x="131" y="228"/>
                    <a:pt x="127" y="221"/>
                    <a:pt x="125" y="215"/>
                  </a:cubicBezTo>
                  <a:cubicBezTo>
                    <a:pt x="144" y="216"/>
                    <a:pt x="162" y="216"/>
                    <a:pt x="167" y="216"/>
                  </a:cubicBezTo>
                  <a:cubicBezTo>
                    <a:pt x="172" y="215"/>
                    <a:pt x="173" y="214"/>
                    <a:pt x="173" y="210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227" y="101"/>
                    <a:pt x="227" y="101"/>
                    <a:pt x="227" y="101"/>
                  </a:cubicBezTo>
                  <a:lnTo>
                    <a:pt x="227" y="118"/>
                  </a:lnTo>
                  <a:close/>
                  <a:moveTo>
                    <a:pt x="197" y="98"/>
                  </a:moveTo>
                  <a:cubicBezTo>
                    <a:pt x="176" y="88"/>
                    <a:pt x="139" y="72"/>
                    <a:pt x="107" y="61"/>
                  </a:cubicBezTo>
                  <a:cubicBezTo>
                    <a:pt x="92" y="80"/>
                    <a:pt x="65" y="92"/>
                    <a:pt x="18" y="99"/>
                  </a:cubicBezTo>
                  <a:cubicBezTo>
                    <a:pt x="16" y="95"/>
                    <a:pt x="12" y="88"/>
                    <a:pt x="9" y="84"/>
                  </a:cubicBezTo>
                  <a:cubicBezTo>
                    <a:pt x="63" y="77"/>
                    <a:pt x="87" y="64"/>
                    <a:pt x="98" y="41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17"/>
                    <a:pt x="106" y="9"/>
                    <a:pt x="107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5" y="9"/>
                    <a:pt x="124" y="17"/>
                    <a:pt x="123" y="24"/>
                  </a:cubicBezTo>
                  <a:cubicBezTo>
                    <a:pt x="215" y="24"/>
                    <a:pt x="215" y="24"/>
                    <a:pt x="215" y="24"/>
                  </a:cubicBezTo>
                  <a:cubicBezTo>
                    <a:pt x="215" y="41"/>
                    <a:pt x="215" y="41"/>
                    <a:pt x="215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7" y="43"/>
                    <a:pt x="116" y="45"/>
                    <a:pt x="116" y="47"/>
                  </a:cubicBezTo>
                  <a:cubicBezTo>
                    <a:pt x="148" y="58"/>
                    <a:pt x="188" y="74"/>
                    <a:pt x="211" y="85"/>
                  </a:cubicBezTo>
                  <a:lnTo>
                    <a:pt x="197" y="98"/>
                  </a:lnTo>
                  <a:close/>
                  <a:moveTo>
                    <a:pt x="45" y="204"/>
                  </a:moveTo>
                  <a:cubicBezTo>
                    <a:pt x="45" y="221"/>
                    <a:pt x="45" y="221"/>
                    <a:pt x="45" y="221"/>
                  </a:cubicBezTo>
                  <a:cubicBezTo>
                    <a:pt x="27" y="221"/>
                    <a:pt x="27" y="221"/>
                    <a:pt x="27" y="221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8" y="204"/>
                    <a:pt x="128" y="204"/>
                    <a:pt x="128" y="204"/>
                  </a:cubicBezTo>
                  <a:lnTo>
                    <a:pt x="45" y="204"/>
                  </a:lnTo>
                  <a:close/>
                  <a:moveTo>
                    <a:pt x="45" y="154"/>
                  </a:moveTo>
                  <a:cubicBezTo>
                    <a:pt x="45" y="189"/>
                    <a:pt x="45" y="189"/>
                    <a:pt x="45" y="189"/>
                  </a:cubicBezTo>
                  <a:cubicBezTo>
                    <a:pt x="110" y="189"/>
                    <a:pt x="110" y="189"/>
                    <a:pt x="110" y="189"/>
                  </a:cubicBezTo>
                  <a:cubicBezTo>
                    <a:pt x="110" y="154"/>
                    <a:pt x="110" y="154"/>
                    <a:pt x="110" y="154"/>
                  </a:cubicBezTo>
                  <a:lnTo>
                    <a:pt x="45" y="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" name="Freeform 29"/>
            <p:cNvSpPr>
              <a:spLocks noEditPoints="1"/>
            </p:cNvSpPr>
            <p:nvPr/>
          </p:nvSpPr>
          <p:spPr bwMode="auto">
            <a:xfrm>
              <a:off x="496888" y="2647950"/>
              <a:ext cx="434975" cy="438150"/>
            </a:xfrm>
            <a:custGeom>
              <a:avLst/>
              <a:gdLst>
                <a:gd name="T0" fmla="*/ 88 w 231"/>
                <a:gd name="T1" fmla="*/ 54 h 233"/>
                <a:gd name="T2" fmla="*/ 66 w 231"/>
                <a:gd name="T3" fmla="*/ 165 h 233"/>
                <a:gd name="T4" fmla="*/ 92 w 231"/>
                <a:gd name="T5" fmla="*/ 188 h 233"/>
                <a:gd name="T6" fmla="*/ 80 w 231"/>
                <a:gd name="T7" fmla="*/ 202 h 233"/>
                <a:gd name="T8" fmla="*/ 58 w 231"/>
                <a:gd name="T9" fmla="*/ 181 h 233"/>
                <a:gd name="T10" fmla="*/ 11 w 231"/>
                <a:gd name="T11" fmla="*/ 233 h 233"/>
                <a:gd name="T12" fmla="*/ 0 w 231"/>
                <a:gd name="T13" fmla="*/ 218 h 233"/>
                <a:gd name="T14" fmla="*/ 44 w 231"/>
                <a:gd name="T15" fmla="*/ 169 h 233"/>
                <a:gd name="T16" fmla="*/ 6 w 231"/>
                <a:gd name="T17" fmla="*/ 139 h 233"/>
                <a:gd name="T18" fmla="*/ 24 w 231"/>
                <a:gd name="T19" fmla="*/ 70 h 233"/>
                <a:gd name="T20" fmla="*/ 0 w 231"/>
                <a:gd name="T21" fmla="*/ 70 h 233"/>
                <a:gd name="T22" fmla="*/ 0 w 231"/>
                <a:gd name="T23" fmla="*/ 53 h 233"/>
                <a:gd name="T24" fmla="*/ 28 w 231"/>
                <a:gd name="T25" fmla="*/ 53 h 233"/>
                <a:gd name="T26" fmla="*/ 36 w 231"/>
                <a:gd name="T27" fmla="*/ 0 h 233"/>
                <a:gd name="T28" fmla="*/ 54 w 231"/>
                <a:gd name="T29" fmla="*/ 2 h 233"/>
                <a:gd name="T30" fmla="*/ 45 w 231"/>
                <a:gd name="T31" fmla="*/ 53 h 233"/>
                <a:gd name="T32" fmla="*/ 74 w 231"/>
                <a:gd name="T33" fmla="*/ 53 h 233"/>
                <a:gd name="T34" fmla="*/ 77 w 231"/>
                <a:gd name="T35" fmla="*/ 52 h 233"/>
                <a:gd name="T36" fmla="*/ 88 w 231"/>
                <a:gd name="T37" fmla="*/ 54 h 233"/>
                <a:gd name="T38" fmla="*/ 42 w 231"/>
                <a:gd name="T39" fmla="*/ 70 h 233"/>
                <a:gd name="T40" fmla="*/ 26 w 231"/>
                <a:gd name="T41" fmla="*/ 133 h 233"/>
                <a:gd name="T42" fmla="*/ 52 w 231"/>
                <a:gd name="T43" fmla="*/ 153 h 233"/>
                <a:gd name="T44" fmla="*/ 70 w 231"/>
                <a:gd name="T45" fmla="*/ 70 h 233"/>
                <a:gd name="T46" fmla="*/ 42 w 231"/>
                <a:gd name="T47" fmla="*/ 70 h 233"/>
                <a:gd name="T48" fmla="*/ 219 w 231"/>
                <a:gd name="T49" fmla="*/ 130 h 233"/>
                <a:gd name="T50" fmla="*/ 91 w 231"/>
                <a:gd name="T51" fmla="*/ 233 h 233"/>
                <a:gd name="T52" fmla="*/ 80 w 231"/>
                <a:gd name="T53" fmla="*/ 216 h 233"/>
                <a:gd name="T54" fmla="*/ 202 w 231"/>
                <a:gd name="T55" fmla="*/ 125 h 233"/>
                <a:gd name="T56" fmla="*/ 219 w 231"/>
                <a:gd name="T57" fmla="*/ 130 h 233"/>
                <a:gd name="T58" fmla="*/ 133 w 231"/>
                <a:gd name="T59" fmla="*/ 47 h 233"/>
                <a:gd name="T60" fmla="*/ 112 w 231"/>
                <a:gd name="T61" fmla="*/ 128 h 233"/>
                <a:gd name="T62" fmla="*/ 96 w 231"/>
                <a:gd name="T63" fmla="*/ 120 h 233"/>
                <a:gd name="T64" fmla="*/ 116 w 231"/>
                <a:gd name="T65" fmla="*/ 44 h 233"/>
                <a:gd name="T66" fmla="*/ 133 w 231"/>
                <a:gd name="T67" fmla="*/ 47 h 233"/>
                <a:gd name="T68" fmla="*/ 169 w 231"/>
                <a:gd name="T69" fmla="*/ 157 h 233"/>
                <a:gd name="T70" fmla="*/ 151 w 231"/>
                <a:gd name="T71" fmla="*/ 157 h 233"/>
                <a:gd name="T72" fmla="*/ 151 w 231"/>
                <a:gd name="T73" fmla="*/ 0 h 233"/>
                <a:gd name="T74" fmla="*/ 169 w 231"/>
                <a:gd name="T75" fmla="*/ 0 h 233"/>
                <a:gd name="T76" fmla="*/ 169 w 231"/>
                <a:gd name="T77" fmla="*/ 157 h 233"/>
                <a:gd name="T78" fmla="*/ 214 w 231"/>
                <a:gd name="T79" fmla="*/ 115 h 233"/>
                <a:gd name="T80" fmla="*/ 186 w 231"/>
                <a:gd name="T81" fmla="*/ 46 h 233"/>
                <a:gd name="T82" fmla="*/ 202 w 231"/>
                <a:gd name="T83" fmla="*/ 40 h 233"/>
                <a:gd name="T84" fmla="*/ 231 w 231"/>
                <a:gd name="T85" fmla="*/ 109 h 233"/>
                <a:gd name="T86" fmla="*/ 214 w 231"/>
                <a:gd name="T87" fmla="*/ 115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1" h="233">
                  <a:moveTo>
                    <a:pt x="88" y="54"/>
                  </a:moveTo>
                  <a:cubicBezTo>
                    <a:pt x="85" y="100"/>
                    <a:pt x="78" y="137"/>
                    <a:pt x="66" y="165"/>
                  </a:cubicBezTo>
                  <a:cubicBezTo>
                    <a:pt x="76" y="173"/>
                    <a:pt x="86" y="181"/>
                    <a:pt x="92" y="188"/>
                  </a:cubicBezTo>
                  <a:cubicBezTo>
                    <a:pt x="80" y="202"/>
                    <a:pt x="80" y="202"/>
                    <a:pt x="80" y="202"/>
                  </a:cubicBezTo>
                  <a:cubicBezTo>
                    <a:pt x="74" y="197"/>
                    <a:pt x="67" y="189"/>
                    <a:pt x="58" y="181"/>
                  </a:cubicBezTo>
                  <a:cubicBezTo>
                    <a:pt x="46" y="204"/>
                    <a:pt x="30" y="221"/>
                    <a:pt x="11" y="233"/>
                  </a:cubicBezTo>
                  <a:cubicBezTo>
                    <a:pt x="9" y="228"/>
                    <a:pt x="4" y="222"/>
                    <a:pt x="0" y="218"/>
                  </a:cubicBezTo>
                  <a:cubicBezTo>
                    <a:pt x="18" y="208"/>
                    <a:pt x="33" y="192"/>
                    <a:pt x="44" y="169"/>
                  </a:cubicBezTo>
                  <a:cubicBezTo>
                    <a:pt x="32" y="159"/>
                    <a:pt x="18" y="148"/>
                    <a:pt x="6" y="139"/>
                  </a:cubicBezTo>
                  <a:cubicBezTo>
                    <a:pt x="12" y="121"/>
                    <a:pt x="18" y="96"/>
                    <a:pt x="24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31" y="34"/>
                    <a:pt x="34" y="17"/>
                    <a:pt x="36" y="0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2" y="18"/>
                    <a:pt x="49" y="35"/>
                    <a:pt x="45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7" y="52"/>
                    <a:pt x="77" y="52"/>
                    <a:pt x="77" y="52"/>
                  </a:cubicBezTo>
                  <a:lnTo>
                    <a:pt x="88" y="54"/>
                  </a:lnTo>
                  <a:close/>
                  <a:moveTo>
                    <a:pt x="42" y="70"/>
                  </a:moveTo>
                  <a:cubicBezTo>
                    <a:pt x="36" y="93"/>
                    <a:pt x="31" y="115"/>
                    <a:pt x="26" y="133"/>
                  </a:cubicBezTo>
                  <a:cubicBezTo>
                    <a:pt x="34" y="140"/>
                    <a:pt x="43" y="146"/>
                    <a:pt x="52" y="153"/>
                  </a:cubicBezTo>
                  <a:cubicBezTo>
                    <a:pt x="60" y="130"/>
                    <a:pt x="67" y="103"/>
                    <a:pt x="70" y="70"/>
                  </a:cubicBezTo>
                  <a:lnTo>
                    <a:pt x="42" y="70"/>
                  </a:lnTo>
                  <a:close/>
                  <a:moveTo>
                    <a:pt x="219" y="130"/>
                  </a:moveTo>
                  <a:cubicBezTo>
                    <a:pt x="200" y="185"/>
                    <a:pt x="157" y="217"/>
                    <a:pt x="91" y="233"/>
                  </a:cubicBezTo>
                  <a:cubicBezTo>
                    <a:pt x="89" y="227"/>
                    <a:pt x="84" y="220"/>
                    <a:pt x="80" y="216"/>
                  </a:cubicBezTo>
                  <a:cubicBezTo>
                    <a:pt x="143" y="203"/>
                    <a:pt x="183" y="174"/>
                    <a:pt x="202" y="125"/>
                  </a:cubicBezTo>
                  <a:lnTo>
                    <a:pt x="219" y="130"/>
                  </a:lnTo>
                  <a:close/>
                  <a:moveTo>
                    <a:pt x="133" y="47"/>
                  </a:moveTo>
                  <a:cubicBezTo>
                    <a:pt x="129" y="77"/>
                    <a:pt x="121" y="108"/>
                    <a:pt x="112" y="128"/>
                  </a:cubicBezTo>
                  <a:cubicBezTo>
                    <a:pt x="108" y="126"/>
                    <a:pt x="100" y="122"/>
                    <a:pt x="96" y="120"/>
                  </a:cubicBezTo>
                  <a:cubicBezTo>
                    <a:pt x="105" y="101"/>
                    <a:pt x="112" y="72"/>
                    <a:pt x="116" y="44"/>
                  </a:cubicBezTo>
                  <a:lnTo>
                    <a:pt x="133" y="47"/>
                  </a:lnTo>
                  <a:close/>
                  <a:moveTo>
                    <a:pt x="169" y="157"/>
                  </a:moveTo>
                  <a:cubicBezTo>
                    <a:pt x="151" y="157"/>
                    <a:pt x="151" y="157"/>
                    <a:pt x="151" y="157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69" y="0"/>
                    <a:pt x="169" y="0"/>
                    <a:pt x="169" y="0"/>
                  </a:cubicBezTo>
                  <a:lnTo>
                    <a:pt x="169" y="157"/>
                  </a:lnTo>
                  <a:close/>
                  <a:moveTo>
                    <a:pt x="214" y="115"/>
                  </a:moveTo>
                  <a:cubicBezTo>
                    <a:pt x="209" y="96"/>
                    <a:pt x="198" y="67"/>
                    <a:pt x="186" y="46"/>
                  </a:cubicBezTo>
                  <a:cubicBezTo>
                    <a:pt x="202" y="40"/>
                    <a:pt x="202" y="40"/>
                    <a:pt x="202" y="40"/>
                  </a:cubicBezTo>
                  <a:cubicBezTo>
                    <a:pt x="214" y="62"/>
                    <a:pt x="226" y="90"/>
                    <a:pt x="231" y="109"/>
                  </a:cubicBezTo>
                  <a:lnTo>
                    <a:pt x="214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23" b="4564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7" name="Freeform 5"/>
          <p:cNvSpPr>
            <a:spLocks/>
          </p:cNvSpPr>
          <p:nvPr userDrawn="1"/>
        </p:nvSpPr>
        <p:spPr bwMode="auto">
          <a:xfrm>
            <a:off x="7096143" y="829665"/>
            <a:ext cx="4068096" cy="3052352"/>
          </a:xfrm>
          <a:custGeom>
            <a:avLst/>
            <a:gdLst>
              <a:gd name="T0" fmla="*/ 1006 w 1006"/>
              <a:gd name="T1" fmla="*/ 0 h 1007"/>
              <a:gd name="T2" fmla="*/ 65 w 1006"/>
              <a:gd name="T3" fmla="*/ 0 h 1007"/>
              <a:gd name="T4" fmla="*/ 0 w 1006"/>
              <a:gd name="T5" fmla="*/ 65 h 1007"/>
              <a:gd name="T6" fmla="*/ 0 w 1006"/>
              <a:gd name="T7" fmla="*/ 1007 h 1007"/>
              <a:gd name="T8" fmla="*/ 1006 w 1006"/>
              <a:gd name="T9" fmla="*/ 1007 h 1007"/>
              <a:gd name="T10" fmla="*/ 1006 w 1006"/>
              <a:gd name="T11" fmla="*/ 0 h 10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06" h="1007">
                <a:moveTo>
                  <a:pt x="1006" y="0"/>
                </a:moveTo>
                <a:cubicBezTo>
                  <a:pt x="65" y="0"/>
                  <a:pt x="65" y="0"/>
                  <a:pt x="65" y="0"/>
                </a:cubicBezTo>
                <a:cubicBezTo>
                  <a:pt x="29" y="0"/>
                  <a:pt x="0" y="29"/>
                  <a:pt x="0" y="65"/>
                </a:cubicBezTo>
                <a:cubicBezTo>
                  <a:pt x="0" y="1007"/>
                  <a:pt x="0" y="1007"/>
                  <a:pt x="0" y="1007"/>
                </a:cubicBezTo>
                <a:cubicBezTo>
                  <a:pt x="1006" y="1007"/>
                  <a:pt x="1006" y="1007"/>
                  <a:pt x="1006" y="1007"/>
                </a:cubicBezTo>
                <a:cubicBezTo>
                  <a:pt x="1006" y="0"/>
                  <a:pt x="1006" y="0"/>
                  <a:pt x="1006" y="0"/>
                </a:cubicBezTo>
              </a:path>
            </a:pathLst>
          </a:custGeom>
          <a:solidFill>
            <a:srgbClr val="005BAC">
              <a:alpha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 dirty="0">
              <a:solidFill>
                <a:prstClr val="black"/>
              </a:solidFill>
            </a:endParaRPr>
          </a:p>
        </p:txBody>
      </p:sp>
      <p:sp>
        <p:nvSpPr>
          <p:cNvPr id="8" name="文本占位符 5"/>
          <p:cNvSpPr>
            <a:spLocks noGrp="1"/>
          </p:cNvSpPr>
          <p:nvPr>
            <p:ph type="body" sz="quarter" idx="14" hasCustomPrompt="1"/>
          </p:nvPr>
        </p:nvSpPr>
        <p:spPr>
          <a:xfrm>
            <a:off x="7449601" y="1079108"/>
            <a:ext cx="3298299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800" b="1" baseline="0">
                <a:solidFill>
                  <a:schemeClr val="bg1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38PT</a:t>
            </a:r>
          </a:p>
          <a:p>
            <a:pPr lvl="0"/>
            <a:r>
              <a:rPr lang="zh-CN" altLang="en-US" dirty="0"/>
              <a:t>微软雅黑</a:t>
            </a:r>
            <a:endParaRPr lang="en-US" altLang="zh-CN" dirty="0"/>
          </a:p>
          <a:p>
            <a:pPr lvl="0"/>
            <a:r>
              <a:rPr lang="zh-CN" altLang="en-US" dirty="0"/>
              <a:t>加粗</a:t>
            </a:r>
          </a:p>
        </p:txBody>
      </p:sp>
      <p:sp>
        <p:nvSpPr>
          <p:cNvPr id="9" name="文本占位符 126"/>
          <p:cNvSpPr>
            <a:spLocks noGrp="1"/>
          </p:cNvSpPr>
          <p:nvPr>
            <p:ph type="body" sz="quarter" idx="11" hasCustomPrompt="1"/>
          </p:nvPr>
        </p:nvSpPr>
        <p:spPr>
          <a:xfrm>
            <a:off x="7449601" y="3050661"/>
            <a:ext cx="2968540" cy="585866"/>
          </a:xfrm>
          <a:prstGeom prst="rect">
            <a:avLst/>
          </a:prstGeom>
          <a:noFill/>
        </p:spPr>
        <p:txBody>
          <a:bodyPr wrap="square" tIns="468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  <a:ea typeface="+mj-ea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演讲人</a:t>
            </a:r>
            <a:r>
              <a:rPr lang="en-US" altLang="zh-CN" dirty="0"/>
              <a:t>             </a:t>
            </a:r>
          </a:p>
          <a:p>
            <a:pPr lvl="0"/>
            <a:r>
              <a:rPr lang="en-US" altLang="zh-CN" dirty="0"/>
              <a:t>16PT </a:t>
            </a:r>
            <a:r>
              <a:rPr lang="zh-CN" altLang="en-US" dirty="0"/>
              <a:t>微软雅黑</a:t>
            </a:r>
            <a:endParaRPr lang="en-US" altLang="zh-CN" dirty="0"/>
          </a:p>
        </p:txBody>
      </p:sp>
      <p:sp>
        <p:nvSpPr>
          <p:cNvPr id="13" name="TextBox 7"/>
          <p:cNvSpPr txBox="1">
            <a:spLocks noChangeArrowheads="1"/>
          </p:cNvSpPr>
          <p:nvPr userDrawn="1"/>
        </p:nvSpPr>
        <p:spPr bwMode="auto">
          <a:xfrm>
            <a:off x="744001" y="6205757"/>
            <a:ext cx="27029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anose="05000000000000000000" pitchFamily="2" charset="2"/>
              <a:buNone/>
            </a:pPr>
            <a:r>
              <a:rPr kumimoji="0" lang="en-US" altLang="zh-CN" sz="1000" dirty="0">
                <a:solidFill>
                  <a:srgbClr val="FFFFFF"/>
                </a:solidFill>
                <a:latin typeface="Verdana" panose="020B0604030504040204" pitchFamily="34" charset="0"/>
              </a:rPr>
              <a:t>Copyright © 2018 Neusoft Corporation</a:t>
            </a:r>
          </a:p>
        </p:txBody>
      </p:sp>
    </p:spTree>
    <p:extLst>
      <p:ext uri="{BB962C8B-B14F-4D97-AF65-F5344CB8AC3E}">
        <p14:creationId xmlns:p14="http://schemas.microsoft.com/office/powerpoint/2010/main" val="19379938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0911"/>
          <a:stretch/>
        </p:blipFill>
        <p:spPr>
          <a:xfrm flipH="1">
            <a:off x="0" y="0"/>
            <a:ext cx="12217139" cy="6858000"/>
          </a:xfrm>
          <a:prstGeom prst="rect">
            <a:avLst/>
          </a:prstGeom>
        </p:spPr>
      </p:pic>
      <p:grpSp>
        <p:nvGrpSpPr>
          <p:cNvPr id="8" name="组合 7"/>
          <p:cNvGrpSpPr/>
          <p:nvPr userDrawn="1"/>
        </p:nvGrpSpPr>
        <p:grpSpPr>
          <a:xfrm>
            <a:off x="9792141" y="456456"/>
            <a:ext cx="1718735" cy="257174"/>
            <a:chOff x="7502525" y="6159501"/>
            <a:chExt cx="1289051" cy="257174"/>
          </a:xfrm>
          <a:solidFill>
            <a:schemeClr val="bg1"/>
          </a:solidFill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7502525" y="6178550"/>
              <a:ext cx="219075" cy="228600"/>
            </a:xfrm>
            <a:custGeom>
              <a:avLst/>
              <a:gdLst>
                <a:gd name="T0" fmla="*/ 138 w 138"/>
                <a:gd name="T1" fmla="*/ 144 h 144"/>
                <a:gd name="T2" fmla="*/ 101 w 138"/>
                <a:gd name="T3" fmla="*/ 144 h 144"/>
                <a:gd name="T4" fmla="*/ 35 w 138"/>
                <a:gd name="T5" fmla="*/ 46 h 144"/>
                <a:gd name="T6" fmla="*/ 35 w 138"/>
                <a:gd name="T7" fmla="*/ 144 h 144"/>
                <a:gd name="T8" fmla="*/ 0 w 138"/>
                <a:gd name="T9" fmla="*/ 144 h 144"/>
                <a:gd name="T10" fmla="*/ 0 w 138"/>
                <a:gd name="T11" fmla="*/ 0 h 144"/>
                <a:gd name="T12" fmla="*/ 46 w 138"/>
                <a:gd name="T13" fmla="*/ 0 h 144"/>
                <a:gd name="T14" fmla="*/ 103 w 138"/>
                <a:gd name="T15" fmla="*/ 82 h 144"/>
                <a:gd name="T16" fmla="*/ 103 w 138"/>
                <a:gd name="T17" fmla="*/ 0 h 144"/>
                <a:gd name="T18" fmla="*/ 138 w 138"/>
                <a:gd name="T19" fmla="*/ 0 h 144"/>
                <a:gd name="T20" fmla="*/ 138 w 138"/>
                <a:gd name="T2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8" h="144">
                  <a:moveTo>
                    <a:pt x="138" y="144"/>
                  </a:moveTo>
                  <a:lnTo>
                    <a:pt x="101" y="144"/>
                  </a:lnTo>
                  <a:lnTo>
                    <a:pt x="35" y="46"/>
                  </a:lnTo>
                  <a:lnTo>
                    <a:pt x="35" y="144"/>
                  </a:lnTo>
                  <a:lnTo>
                    <a:pt x="0" y="144"/>
                  </a:lnTo>
                  <a:lnTo>
                    <a:pt x="0" y="0"/>
                  </a:lnTo>
                  <a:lnTo>
                    <a:pt x="46" y="0"/>
                  </a:lnTo>
                  <a:lnTo>
                    <a:pt x="103" y="82"/>
                  </a:lnTo>
                  <a:lnTo>
                    <a:pt x="103" y="0"/>
                  </a:lnTo>
                  <a:lnTo>
                    <a:pt x="138" y="0"/>
                  </a:lnTo>
                  <a:lnTo>
                    <a:pt x="138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7735888" y="6227763"/>
              <a:ext cx="192088" cy="182562"/>
            </a:xfrm>
            <a:custGeom>
              <a:avLst/>
              <a:gdLst>
                <a:gd name="T0" fmla="*/ 68 w 68"/>
                <a:gd name="T1" fmla="*/ 36 h 63"/>
                <a:gd name="T2" fmla="*/ 21 w 68"/>
                <a:gd name="T3" fmla="*/ 36 h 63"/>
                <a:gd name="T4" fmla="*/ 27 w 68"/>
                <a:gd name="T5" fmla="*/ 46 h 63"/>
                <a:gd name="T6" fmla="*/ 42 w 68"/>
                <a:gd name="T7" fmla="*/ 50 h 63"/>
                <a:gd name="T8" fmla="*/ 55 w 68"/>
                <a:gd name="T9" fmla="*/ 48 h 63"/>
                <a:gd name="T10" fmla="*/ 65 w 68"/>
                <a:gd name="T11" fmla="*/ 43 h 63"/>
                <a:gd name="T12" fmla="*/ 67 w 68"/>
                <a:gd name="T13" fmla="*/ 43 h 63"/>
                <a:gd name="T14" fmla="*/ 67 w 68"/>
                <a:gd name="T15" fmla="*/ 58 h 63"/>
                <a:gd name="T16" fmla="*/ 54 w 68"/>
                <a:gd name="T17" fmla="*/ 62 h 63"/>
                <a:gd name="T18" fmla="*/ 40 w 68"/>
                <a:gd name="T19" fmla="*/ 63 h 63"/>
                <a:gd name="T20" fmla="*/ 10 w 68"/>
                <a:gd name="T21" fmla="*/ 55 h 63"/>
                <a:gd name="T22" fmla="*/ 0 w 68"/>
                <a:gd name="T23" fmla="*/ 32 h 63"/>
                <a:gd name="T24" fmla="*/ 10 w 68"/>
                <a:gd name="T25" fmla="*/ 9 h 63"/>
                <a:gd name="T26" fmla="*/ 37 w 68"/>
                <a:gd name="T27" fmla="*/ 0 h 63"/>
                <a:gd name="T28" fmla="*/ 60 w 68"/>
                <a:gd name="T29" fmla="*/ 8 h 63"/>
                <a:gd name="T30" fmla="*/ 68 w 68"/>
                <a:gd name="T31" fmla="*/ 29 h 63"/>
                <a:gd name="T32" fmla="*/ 68 w 68"/>
                <a:gd name="T33" fmla="*/ 36 h 63"/>
                <a:gd name="T34" fmla="*/ 48 w 68"/>
                <a:gd name="T35" fmla="*/ 24 h 63"/>
                <a:gd name="T36" fmla="*/ 44 w 68"/>
                <a:gd name="T37" fmla="*/ 15 h 63"/>
                <a:gd name="T38" fmla="*/ 35 w 68"/>
                <a:gd name="T39" fmla="*/ 12 h 63"/>
                <a:gd name="T40" fmla="*/ 25 w 68"/>
                <a:gd name="T41" fmla="*/ 15 h 63"/>
                <a:gd name="T42" fmla="*/ 21 w 68"/>
                <a:gd name="T43" fmla="*/ 24 h 63"/>
                <a:gd name="T44" fmla="*/ 48 w 68"/>
                <a:gd name="T45" fmla="*/ 2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8" h="63">
                  <a:moveTo>
                    <a:pt x="68" y="36"/>
                  </a:moveTo>
                  <a:cubicBezTo>
                    <a:pt x="21" y="36"/>
                    <a:pt x="21" y="36"/>
                    <a:pt x="21" y="36"/>
                  </a:cubicBezTo>
                  <a:cubicBezTo>
                    <a:pt x="21" y="40"/>
                    <a:pt x="23" y="44"/>
                    <a:pt x="27" y="46"/>
                  </a:cubicBezTo>
                  <a:cubicBezTo>
                    <a:pt x="30" y="49"/>
                    <a:pt x="35" y="50"/>
                    <a:pt x="42" y="50"/>
                  </a:cubicBezTo>
                  <a:cubicBezTo>
                    <a:pt x="47" y="50"/>
                    <a:pt x="51" y="49"/>
                    <a:pt x="55" y="48"/>
                  </a:cubicBezTo>
                  <a:cubicBezTo>
                    <a:pt x="59" y="46"/>
                    <a:pt x="62" y="45"/>
                    <a:pt x="65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2" y="60"/>
                    <a:pt x="58" y="61"/>
                    <a:pt x="54" y="62"/>
                  </a:cubicBezTo>
                  <a:cubicBezTo>
                    <a:pt x="50" y="63"/>
                    <a:pt x="45" y="63"/>
                    <a:pt x="40" y="63"/>
                  </a:cubicBezTo>
                  <a:cubicBezTo>
                    <a:pt x="27" y="63"/>
                    <a:pt x="17" y="61"/>
                    <a:pt x="10" y="55"/>
                  </a:cubicBezTo>
                  <a:cubicBezTo>
                    <a:pt x="4" y="50"/>
                    <a:pt x="0" y="42"/>
                    <a:pt x="0" y="32"/>
                  </a:cubicBezTo>
                  <a:cubicBezTo>
                    <a:pt x="0" y="22"/>
                    <a:pt x="3" y="15"/>
                    <a:pt x="10" y="9"/>
                  </a:cubicBezTo>
                  <a:cubicBezTo>
                    <a:pt x="16" y="3"/>
                    <a:pt x="25" y="0"/>
                    <a:pt x="37" y="0"/>
                  </a:cubicBezTo>
                  <a:cubicBezTo>
                    <a:pt x="47" y="0"/>
                    <a:pt x="55" y="3"/>
                    <a:pt x="60" y="8"/>
                  </a:cubicBezTo>
                  <a:cubicBezTo>
                    <a:pt x="66" y="13"/>
                    <a:pt x="68" y="20"/>
                    <a:pt x="68" y="29"/>
                  </a:cubicBezTo>
                  <a:lnTo>
                    <a:pt x="68" y="36"/>
                  </a:lnTo>
                  <a:close/>
                  <a:moveTo>
                    <a:pt x="48" y="24"/>
                  </a:moveTo>
                  <a:cubicBezTo>
                    <a:pt x="47" y="20"/>
                    <a:pt x="46" y="17"/>
                    <a:pt x="44" y="15"/>
                  </a:cubicBezTo>
                  <a:cubicBezTo>
                    <a:pt x="42" y="13"/>
                    <a:pt x="39" y="12"/>
                    <a:pt x="35" y="12"/>
                  </a:cubicBezTo>
                  <a:cubicBezTo>
                    <a:pt x="31" y="12"/>
                    <a:pt x="28" y="13"/>
                    <a:pt x="25" y="15"/>
                  </a:cubicBezTo>
                  <a:cubicBezTo>
                    <a:pt x="23" y="17"/>
                    <a:pt x="21" y="20"/>
                    <a:pt x="21" y="24"/>
                  </a:cubicBezTo>
                  <a:lnTo>
                    <a:pt x="48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7943850" y="6234113"/>
              <a:ext cx="180975" cy="176212"/>
            </a:xfrm>
            <a:custGeom>
              <a:avLst/>
              <a:gdLst>
                <a:gd name="T0" fmla="*/ 64 w 64"/>
                <a:gd name="T1" fmla="*/ 60 h 61"/>
                <a:gd name="T2" fmla="*/ 44 w 64"/>
                <a:gd name="T3" fmla="*/ 60 h 61"/>
                <a:gd name="T4" fmla="*/ 44 w 64"/>
                <a:gd name="T5" fmla="*/ 53 h 61"/>
                <a:gd name="T6" fmla="*/ 33 w 64"/>
                <a:gd name="T7" fmla="*/ 59 h 61"/>
                <a:gd name="T8" fmla="*/ 22 w 64"/>
                <a:gd name="T9" fmla="*/ 61 h 61"/>
                <a:gd name="T10" fmla="*/ 5 w 64"/>
                <a:gd name="T11" fmla="*/ 56 h 61"/>
                <a:gd name="T12" fmla="*/ 0 w 64"/>
                <a:gd name="T13" fmla="*/ 39 h 61"/>
                <a:gd name="T14" fmla="*/ 0 w 64"/>
                <a:gd name="T15" fmla="*/ 0 h 61"/>
                <a:gd name="T16" fmla="*/ 20 w 64"/>
                <a:gd name="T17" fmla="*/ 0 h 61"/>
                <a:gd name="T18" fmla="*/ 20 w 64"/>
                <a:gd name="T19" fmla="*/ 30 h 61"/>
                <a:gd name="T20" fmla="*/ 21 w 64"/>
                <a:gd name="T21" fmla="*/ 37 h 61"/>
                <a:gd name="T22" fmla="*/ 22 w 64"/>
                <a:gd name="T23" fmla="*/ 42 h 61"/>
                <a:gd name="T24" fmla="*/ 26 w 64"/>
                <a:gd name="T25" fmla="*/ 45 h 61"/>
                <a:gd name="T26" fmla="*/ 32 w 64"/>
                <a:gd name="T27" fmla="*/ 46 h 61"/>
                <a:gd name="T28" fmla="*/ 37 w 64"/>
                <a:gd name="T29" fmla="*/ 45 h 61"/>
                <a:gd name="T30" fmla="*/ 44 w 64"/>
                <a:gd name="T31" fmla="*/ 42 h 61"/>
                <a:gd name="T32" fmla="*/ 44 w 64"/>
                <a:gd name="T33" fmla="*/ 0 h 61"/>
                <a:gd name="T34" fmla="*/ 64 w 64"/>
                <a:gd name="T35" fmla="*/ 0 h 61"/>
                <a:gd name="T36" fmla="*/ 64 w 64"/>
                <a:gd name="T37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61">
                  <a:moveTo>
                    <a:pt x="64" y="60"/>
                  </a:moveTo>
                  <a:cubicBezTo>
                    <a:pt x="44" y="60"/>
                    <a:pt x="44" y="60"/>
                    <a:pt x="44" y="60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0" y="56"/>
                    <a:pt x="36" y="58"/>
                    <a:pt x="33" y="59"/>
                  </a:cubicBezTo>
                  <a:cubicBezTo>
                    <a:pt x="30" y="61"/>
                    <a:pt x="26" y="61"/>
                    <a:pt x="22" y="61"/>
                  </a:cubicBezTo>
                  <a:cubicBezTo>
                    <a:pt x="15" y="61"/>
                    <a:pt x="9" y="60"/>
                    <a:pt x="5" y="56"/>
                  </a:cubicBezTo>
                  <a:cubicBezTo>
                    <a:pt x="2" y="52"/>
                    <a:pt x="0" y="46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3"/>
                    <a:pt x="21" y="35"/>
                    <a:pt x="21" y="37"/>
                  </a:cubicBezTo>
                  <a:cubicBezTo>
                    <a:pt x="21" y="39"/>
                    <a:pt x="21" y="41"/>
                    <a:pt x="22" y="42"/>
                  </a:cubicBezTo>
                  <a:cubicBezTo>
                    <a:pt x="23" y="44"/>
                    <a:pt x="24" y="45"/>
                    <a:pt x="26" y="45"/>
                  </a:cubicBezTo>
                  <a:cubicBezTo>
                    <a:pt x="27" y="46"/>
                    <a:pt x="29" y="46"/>
                    <a:pt x="32" y="46"/>
                  </a:cubicBezTo>
                  <a:cubicBezTo>
                    <a:pt x="33" y="46"/>
                    <a:pt x="35" y="46"/>
                    <a:pt x="37" y="45"/>
                  </a:cubicBezTo>
                  <a:cubicBezTo>
                    <a:pt x="40" y="45"/>
                    <a:pt x="42" y="44"/>
                    <a:pt x="44" y="42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64" y="0"/>
                    <a:pt x="64" y="0"/>
                    <a:pt x="64" y="0"/>
                  </a:cubicBez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8140700" y="6230938"/>
              <a:ext cx="169863" cy="179387"/>
            </a:xfrm>
            <a:custGeom>
              <a:avLst/>
              <a:gdLst>
                <a:gd name="T0" fmla="*/ 60 w 60"/>
                <a:gd name="T1" fmla="*/ 42 h 62"/>
                <a:gd name="T2" fmla="*/ 51 w 60"/>
                <a:gd name="T3" fmla="*/ 57 h 62"/>
                <a:gd name="T4" fmla="*/ 27 w 60"/>
                <a:gd name="T5" fmla="*/ 62 h 62"/>
                <a:gd name="T6" fmla="*/ 11 w 60"/>
                <a:gd name="T7" fmla="*/ 61 h 62"/>
                <a:gd name="T8" fmla="*/ 0 w 60"/>
                <a:gd name="T9" fmla="*/ 58 h 62"/>
                <a:gd name="T10" fmla="*/ 0 w 60"/>
                <a:gd name="T11" fmla="*/ 42 h 62"/>
                <a:gd name="T12" fmla="*/ 2 w 60"/>
                <a:gd name="T13" fmla="*/ 42 h 62"/>
                <a:gd name="T14" fmla="*/ 5 w 60"/>
                <a:gd name="T15" fmla="*/ 44 h 62"/>
                <a:gd name="T16" fmla="*/ 11 w 60"/>
                <a:gd name="T17" fmla="*/ 47 h 62"/>
                <a:gd name="T18" fmla="*/ 18 w 60"/>
                <a:gd name="T19" fmla="*/ 49 h 62"/>
                <a:gd name="T20" fmla="*/ 27 w 60"/>
                <a:gd name="T21" fmla="*/ 50 h 62"/>
                <a:gd name="T22" fmla="*/ 36 w 60"/>
                <a:gd name="T23" fmla="*/ 48 h 62"/>
                <a:gd name="T24" fmla="*/ 39 w 60"/>
                <a:gd name="T25" fmla="*/ 45 h 62"/>
                <a:gd name="T26" fmla="*/ 37 w 60"/>
                <a:gd name="T27" fmla="*/ 42 h 62"/>
                <a:gd name="T28" fmla="*/ 31 w 60"/>
                <a:gd name="T29" fmla="*/ 40 h 62"/>
                <a:gd name="T30" fmla="*/ 25 w 60"/>
                <a:gd name="T31" fmla="*/ 39 h 62"/>
                <a:gd name="T32" fmla="*/ 17 w 60"/>
                <a:gd name="T33" fmla="*/ 37 h 62"/>
                <a:gd name="T34" fmla="*/ 4 w 60"/>
                <a:gd name="T35" fmla="*/ 31 h 62"/>
                <a:gd name="T36" fmla="*/ 0 w 60"/>
                <a:gd name="T37" fmla="*/ 20 h 62"/>
                <a:gd name="T38" fmla="*/ 9 w 60"/>
                <a:gd name="T39" fmla="*/ 5 h 62"/>
                <a:gd name="T40" fmla="*/ 33 w 60"/>
                <a:gd name="T41" fmla="*/ 0 h 62"/>
                <a:gd name="T42" fmla="*/ 47 w 60"/>
                <a:gd name="T43" fmla="*/ 1 h 62"/>
                <a:gd name="T44" fmla="*/ 57 w 60"/>
                <a:gd name="T45" fmla="*/ 4 h 62"/>
                <a:gd name="T46" fmla="*/ 57 w 60"/>
                <a:gd name="T47" fmla="*/ 19 h 62"/>
                <a:gd name="T48" fmla="*/ 55 w 60"/>
                <a:gd name="T49" fmla="*/ 19 h 62"/>
                <a:gd name="T50" fmla="*/ 45 w 60"/>
                <a:gd name="T51" fmla="*/ 14 h 62"/>
                <a:gd name="T52" fmla="*/ 33 w 60"/>
                <a:gd name="T53" fmla="*/ 12 h 62"/>
                <a:gd name="T54" fmla="*/ 25 w 60"/>
                <a:gd name="T55" fmla="*/ 14 h 62"/>
                <a:gd name="T56" fmla="*/ 21 w 60"/>
                <a:gd name="T57" fmla="*/ 17 h 62"/>
                <a:gd name="T58" fmla="*/ 23 w 60"/>
                <a:gd name="T59" fmla="*/ 20 h 62"/>
                <a:gd name="T60" fmla="*/ 30 w 60"/>
                <a:gd name="T61" fmla="*/ 23 h 62"/>
                <a:gd name="T62" fmla="*/ 37 w 60"/>
                <a:gd name="T63" fmla="*/ 24 h 62"/>
                <a:gd name="T64" fmla="*/ 44 w 60"/>
                <a:gd name="T65" fmla="*/ 25 h 62"/>
                <a:gd name="T66" fmla="*/ 56 w 60"/>
                <a:gd name="T67" fmla="*/ 31 h 62"/>
                <a:gd name="T68" fmla="*/ 60 w 60"/>
                <a:gd name="T69" fmla="*/ 4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2">
                  <a:moveTo>
                    <a:pt x="60" y="42"/>
                  </a:moveTo>
                  <a:cubicBezTo>
                    <a:pt x="60" y="48"/>
                    <a:pt x="57" y="53"/>
                    <a:pt x="51" y="57"/>
                  </a:cubicBezTo>
                  <a:cubicBezTo>
                    <a:pt x="45" y="61"/>
                    <a:pt x="37" y="62"/>
                    <a:pt x="27" y="62"/>
                  </a:cubicBezTo>
                  <a:cubicBezTo>
                    <a:pt x="21" y="62"/>
                    <a:pt x="16" y="62"/>
                    <a:pt x="11" y="61"/>
                  </a:cubicBezTo>
                  <a:cubicBezTo>
                    <a:pt x="6" y="60"/>
                    <a:pt x="3" y="59"/>
                    <a:pt x="0" y="58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3" y="43"/>
                    <a:pt x="4" y="43"/>
                    <a:pt x="5" y="44"/>
                  </a:cubicBezTo>
                  <a:cubicBezTo>
                    <a:pt x="7" y="45"/>
                    <a:pt x="9" y="46"/>
                    <a:pt x="11" y="47"/>
                  </a:cubicBezTo>
                  <a:cubicBezTo>
                    <a:pt x="13" y="48"/>
                    <a:pt x="16" y="48"/>
                    <a:pt x="18" y="49"/>
                  </a:cubicBezTo>
                  <a:cubicBezTo>
                    <a:pt x="21" y="49"/>
                    <a:pt x="24" y="50"/>
                    <a:pt x="27" y="50"/>
                  </a:cubicBezTo>
                  <a:cubicBezTo>
                    <a:pt x="31" y="50"/>
                    <a:pt x="34" y="49"/>
                    <a:pt x="36" y="48"/>
                  </a:cubicBezTo>
                  <a:cubicBezTo>
                    <a:pt x="38" y="48"/>
                    <a:pt x="39" y="46"/>
                    <a:pt x="39" y="45"/>
                  </a:cubicBezTo>
                  <a:cubicBezTo>
                    <a:pt x="39" y="43"/>
                    <a:pt x="38" y="42"/>
                    <a:pt x="37" y="42"/>
                  </a:cubicBezTo>
                  <a:cubicBezTo>
                    <a:pt x="36" y="41"/>
                    <a:pt x="34" y="40"/>
                    <a:pt x="31" y="40"/>
                  </a:cubicBezTo>
                  <a:cubicBezTo>
                    <a:pt x="29" y="39"/>
                    <a:pt x="27" y="39"/>
                    <a:pt x="25" y="39"/>
                  </a:cubicBezTo>
                  <a:cubicBezTo>
                    <a:pt x="22" y="38"/>
                    <a:pt x="20" y="38"/>
                    <a:pt x="17" y="37"/>
                  </a:cubicBezTo>
                  <a:cubicBezTo>
                    <a:pt x="12" y="36"/>
                    <a:pt x="7" y="34"/>
                    <a:pt x="4" y="31"/>
                  </a:cubicBezTo>
                  <a:cubicBezTo>
                    <a:pt x="1" y="28"/>
                    <a:pt x="0" y="24"/>
                    <a:pt x="0" y="20"/>
                  </a:cubicBezTo>
                  <a:cubicBezTo>
                    <a:pt x="0" y="14"/>
                    <a:pt x="3" y="9"/>
                    <a:pt x="9" y="5"/>
                  </a:cubicBezTo>
                  <a:cubicBezTo>
                    <a:pt x="15" y="2"/>
                    <a:pt x="23" y="0"/>
                    <a:pt x="33" y="0"/>
                  </a:cubicBezTo>
                  <a:cubicBezTo>
                    <a:pt x="38" y="0"/>
                    <a:pt x="42" y="0"/>
                    <a:pt x="47" y="1"/>
                  </a:cubicBezTo>
                  <a:cubicBezTo>
                    <a:pt x="51" y="2"/>
                    <a:pt x="55" y="3"/>
                    <a:pt x="57" y="4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2" y="17"/>
                    <a:pt x="49" y="15"/>
                    <a:pt x="45" y="14"/>
                  </a:cubicBezTo>
                  <a:cubicBezTo>
                    <a:pt x="41" y="13"/>
                    <a:pt x="37" y="12"/>
                    <a:pt x="33" y="12"/>
                  </a:cubicBezTo>
                  <a:cubicBezTo>
                    <a:pt x="30" y="12"/>
                    <a:pt x="27" y="13"/>
                    <a:pt x="25" y="14"/>
                  </a:cubicBezTo>
                  <a:cubicBezTo>
                    <a:pt x="22" y="15"/>
                    <a:pt x="21" y="16"/>
                    <a:pt x="21" y="17"/>
                  </a:cubicBezTo>
                  <a:cubicBezTo>
                    <a:pt x="21" y="19"/>
                    <a:pt x="22" y="20"/>
                    <a:pt x="23" y="20"/>
                  </a:cubicBezTo>
                  <a:cubicBezTo>
                    <a:pt x="24" y="21"/>
                    <a:pt x="26" y="22"/>
                    <a:pt x="30" y="23"/>
                  </a:cubicBezTo>
                  <a:cubicBezTo>
                    <a:pt x="32" y="23"/>
                    <a:pt x="34" y="23"/>
                    <a:pt x="37" y="24"/>
                  </a:cubicBezTo>
                  <a:cubicBezTo>
                    <a:pt x="39" y="24"/>
                    <a:pt x="42" y="25"/>
                    <a:pt x="44" y="25"/>
                  </a:cubicBezTo>
                  <a:cubicBezTo>
                    <a:pt x="50" y="27"/>
                    <a:pt x="54" y="29"/>
                    <a:pt x="56" y="31"/>
                  </a:cubicBezTo>
                  <a:cubicBezTo>
                    <a:pt x="59" y="34"/>
                    <a:pt x="60" y="38"/>
                    <a:pt x="60" y="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auto">
            <a:xfrm>
              <a:off x="8321675" y="6227763"/>
              <a:ext cx="200025" cy="185737"/>
            </a:xfrm>
            <a:custGeom>
              <a:avLst/>
              <a:gdLst>
                <a:gd name="T0" fmla="*/ 71 w 71"/>
                <a:gd name="T1" fmla="*/ 32 h 64"/>
                <a:gd name="T2" fmla="*/ 61 w 71"/>
                <a:gd name="T3" fmla="*/ 55 h 64"/>
                <a:gd name="T4" fmla="*/ 35 w 71"/>
                <a:gd name="T5" fmla="*/ 64 h 64"/>
                <a:gd name="T6" fmla="*/ 9 w 71"/>
                <a:gd name="T7" fmla="*/ 55 h 64"/>
                <a:gd name="T8" fmla="*/ 0 w 71"/>
                <a:gd name="T9" fmla="*/ 32 h 64"/>
                <a:gd name="T10" fmla="*/ 9 w 71"/>
                <a:gd name="T11" fmla="*/ 9 h 64"/>
                <a:gd name="T12" fmla="*/ 35 w 71"/>
                <a:gd name="T13" fmla="*/ 0 h 64"/>
                <a:gd name="T14" fmla="*/ 62 w 71"/>
                <a:gd name="T15" fmla="*/ 9 h 64"/>
                <a:gd name="T16" fmla="*/ 71 w 71"/>
                <a:gd name="T17" fmla="*/ 32 h 64"/>
                <a:gd name="T18" fmla="*/ 45 w 71"/>
                <a:gd name="T19" fmla="*/ 47 h 64"/>
                <a:gd name="T20" fmla="*/ 48 w 71"/>
                <a:gd name="T21" fmla="*/ 41 h 64"/>
                <a:gd name="T22" fmla="*/ 49 w 71"/>
                <a:gd name="T23" fmla="*/ 32 h 64"/>
                <a:gd name="T24" fmla="*/ 48 w 71"/>
                <a:gd name="T25" fmla="*/ 23 h 64"/>
                <a:gd name="T26" fmla="*/ 45 w 71"/>
                <a:gd name="T27" fmla="*/ 18 h 64"/>
                <a:gd name="T28" fmla="*/ 41 w 71"/>
                <a:gd name="T29" fmla="*/ 15 h 64"/>
                <a:gd name="T30" fmla="*/ 35 w 71"/>
                <a:gd name="T31" fmla="*/ 14 h 64"/>
                <a:gd name="T32" fmla="*/ 30 w 71"/>
                <a:gd name="T33" fmla="*/ 14 h 64"/>
                <a:gd name="T34" fmla="*/ 26 w 71"/>
                <a:gd name="T35" fmla="*/ 17 h 64"/>
                <a:gd name="T36" fmla="*/ 23 w 71"/>
                <a:gd name="T37" fmla="*/ 23 h 64"/>
                <a:gd name="T38" fmla="*/ 22 w 71"/>
                <a:gd name="T39" fmla="*/ 32 h 64"/>
                <a:gd name="T40" fmla="*/ 23 w 71"/>
                <a:gd name="T41" fmla="*/ 41 h 64"/>
                <a:gd name="T42" fmla="*/ 25 w 71"/>
                <a:gd name="T43" fmla="*/ 46 h 64"/>
                <a:gd name="T44" fmla="*/ 30 w 71"/>
                <a:gd name="T45" fmla="*/ 49 h 64"/>
                <a:gd name="T46" fmla="*/ 36 w 71"/>
                <a:gd name="T47" fmla="*/ 50 h 64"/>
                <a:gd name="T48" fmla="*/ 41 w 71"/>
                <a:gd name="T49" fmla="*/ 49 h 64"/>
                <a:gd name="T50" fmla="*/ 45 w 71"/>
                <a:gd name="T51" fmla="*/ 4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1" h="64">
                  <a:moveTo>
                    <a:pt x="71" y="32"/>
                  </a:moveTo>
                  <a:cubicBezTo>
                    <a:pt x="71" y="42"/>
                    <a:pt x="68" y="50"/>
                    <a:pt x="61" y="55"/>
                  </a:cubicBezTo>
                  <a:cubicBezTo>
                    <a:pt x="55" y="61"/>
                    <a:pt x="47" y="64"/>
                    <a:pt x="35" y="64"/>
                  </a:cubicBezTo>
                  <a:cubicBezTo>
                    <a:pt x="24" y="64"/>
                    <a:pt x="16" y="61"/>
                    <a:pt x="9" y="55"/>
                  </a:cubicBezTo>
                  <a:cubicBezTo>
                    <a:pt x="3" y="50"/>
                    <a:pt x="0" y="42"/>
                    <a:pt x="0" y="32"/>
                  </a:cubicBezTo>
                  <a:cubicBezTo>
                    <a:pt x="0" y="22"/>
                    <a:pt x="3" y="14"/>
                    <a:pt x="9" y="9"/>
                  </a:cubicBezTo>
                  <a:cubicBezTo>
                    <a:pt x="16" y="3"/>
                    <a:pt x="24" y="0"/>
                    <a:pt x="35" y="0"/>
                  </a:cubicBezTo>
                  <a:cubicBezTo>
                    <a:pt x="47" y="0"/>
                    <a:pt x="55" y="3"/>
                    <a:pt x="62" y="9"/>
                  </a:cubicBezTo>
                  <a:cubicBezTo>
                    <a:pt x="68" y="14"/>
                    <a:pt x="71" y="22"/>
                    <a:pt x="71" y="32"/>
                  </a:cubicBezTo>
                  <a:moveTo>
                    <a:pt x="45" y="47"/>
                  </a:moveTo>
                  <a:cubicBezTo>
                    <a:pt x="47" y="45"/>
                    <a:pt x="48" y="43"/>
                    <a:pt x="48" y="41"/>
                  </a:cubicBezTo>
                  <a:cubicBezTo>
                    <a:pt x="49" y="39"/>
                    <a:pt x="49" y="36"/>
                    <a:pt x="49" y="32"/>
                  </a:cubicBezTo>
                  <a:cubicBezTo>
                    <a:pt x="49" y="29"/>
                    <a:pt x="49" y="26"/>
                    <a:pt x="48" y="23"/>
                  </a:cubicBezTo>
                  <a:cubicBezTo>
                    <a:pt x="48" y="21"/>
                    <a:pt x="47" y="19"/>
                    <a:pt x="45" y="18"/>
                  </a:cubicBezTo>
                  <a:cubicBezTo>
                    <a:pt x="44" y="16"/>
                    <a:pt x="43" y="15"/>
                    <a:pt x="41" y="15"/>
                  </a:cubicBezTo>
                  <a:cubicBezTo>
                    <a:pt x="39" y="14"/>
                    <a:pt x="37" y="14"/>
                    <a:pt x="35" y="14"/>
                  </a:cubicBezTo>
                  <a:cubicBezTo>
                    <a:pt x="33" y="14"/>
                    <a:pt x="32" y="14"/>
                    <a:pt x="30" y="14"/>
                  </a:cubicBezTo>
                  <a:cubicBezTo>
                    <a:pt x="29" y="15"/>
                    <a:pt x="27" y="16"/>
                    <a:pt x="26" y="17"/>
                  </a:cubicBezTo>
                  <a:cubicBezTo>
                    <a:pt x="24" y="19"/>
                    <a:pt x="23" y="21"/>
                    <a:pt x="23" y="23"/>
                  </a:cubicBezTo>
                  <a:cubicBezTo>
                    <a:pt x="22" y="25"/>
                    <a:pt x="22" y="28"/>
                    <a:pt x="22" y="32"/>
                  </a:cubicBezTo>
                  <a:cubicBezTo>
                    <a:pt x="22" y="35"/>
                    <a:pt x="22" y="38"/>
                    <a:pt x="23" y="41"/>
                  </a:cubicBezTo>
                  <a:cubicBezTo>
                    <a:pt x="23" y="43"/>
                    <a:pt x="24" y="45"/>
                    <a:pt x="25" y="46"/>
                  </a:cubicBezTo>
                  <a:cubicBezTo>
                    <a:pt x="27" y="48"/>
                    <a:pt x="28" y="49"/>
                    <a:pt x="30" y="49"/>
                  </a:cubicBezTo>
                  <a:cubicBezTo>
                    <a:pt x="31" y="50"/>
                    <a:pt x="33" y="50"/>
                    <a:pt x="36" y="50"/>
                  </a:cubicBezTo>
                  <a:cubicBezTo>
                    <a:pt x="38" y="50"/>
                    <a:pt x="39" y="50"/>
                    <a:pt x="41" y="49"/>
                  </a:cubicBezTo>
                  <a:cubicBezTo>
                    <a:pt x="43" y="49"/>
                    <a:pt x="44" y="48"/>
                    <a:pt x="45" y="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8526463" y="6159501"/>
              <a:ext cx="265113" cy="257174"/>
            </a:xfrm>
            <a:custGeom>
              <a:avLst/>
              <a:gdLst>
                <a:gd name="T0" fmla="*/ 29 w 94"/>
                <a:gd name="T1" fmla="*/ 26 h 89"/>
                <a:gd name="T2" fmla="*/ 54 w 94"/>
                <a:gd name="T3" fmla="*/ 26 h 89"/>
                <a:gd name="T4" fmla="*/ 54 w 94"/>
                <a:gd name="T5" fmla="*/ 17 h 89"/>
                <a:gd name="T6" fmla="*/ 73 w 94"/>
                <a:gd name="T7" fmla="*/ 9 h 89"/>
                <a:gd name="T8" fmla="*/ 75 w 94"/>
                <a:gd name="T9" fmla="*/ 9 h 89"/>
                <a:gd name="T10" fmla="*/ 75 w 94"/>
                <a:gd name="T11" fmla="*/ 26 h 89"/>
                <a:gd name="T12" fmla="*/ 94 w 94"/>
                <a:gd name="T13" fmla="*/ 26 h 89"/>
                <a:gd name="T14" fmla="*/ 94 w 94"/>
                <a:gd name="T15" fmla="*/ 39 h 89"/>
                <a:gd name="T16" fmla="*/ 75 w 94"/>
                <a:gd name="T17" fmla="*/ 39 h 89"/>
                <a:gd name="T18" fmla="*/ 75 w 94"/>
                <a:gd name="T19" fmla="*/ 66 h 89"/>
                <a:gd name="T20" fmla="*/ 83 w 94"/>
                <a:gd name="T21" fmla="*/ 74 h 89"/>
                <a:gd name="T22" fmla="*/ 92 w 94"/>
                <a:gd name="T23" fmla="*/ 72 h 89"/>
                <a:gd name="T24" fmla="*/ 94 w 94"/>
                <a:gd name="T25" fmla="*/ 72 h 89"/>
                <a:gd name="T26" fmla="*/ 94 w 94"/>
                <a:gd name="T27" fmla="*/ 85 h 89"/>
                <a:gd name="T28" fmla="*/ 68 w 94"/>
                <a:gd name="T29" fmla="*/ 86 h 89"/>
                <a:gd name="T30" fmla="*/ 55 w 94"/>
                <a:gd name="T31" fmla="*/ 76 h 89"/>
                <a:gd name="T32" fmla="*/ 54 w 94"/>
                <a:gd name="T33" fmla="*/ 68 h 89"/>
                <a:gd name="T34" fmla="*/ 54 w 94"/>
                <a:gd name="T35" fmla="*/ 39 h 89"/>
                <a:gd name="T36" fmla="*/ 30 w 94"/>
                <a:gd name="T37" fmla="*/ 39 h 89"/>
                <a:gd name="T38" fmla="*/ 30 w 94"/>
                <a:gd name="T39" fmla="*/ 86 h 89"/>
                <a:gd name="T40" fmla="*/ 9 w 94"/>
                <a:gd name="T41" fmla="*/ 86 h 89"/>
                <a:gd name="T42" fmla="*/ 9 w 94"/>
                <a:gd name="T43" fmla="*/ 39 h 89"/>
                <a:gd name="T44" fmla="*/ 0 w 94"/>
                <a:gd name="T45" fmla="*/ 39 h 89"/>
                <a:gd name="T46" fmla="*/ 0 w 94"/>
                <a:gd name="T47" fmla="*/ 26 h 89"/>
                <a:gd name="T48" fmla="*/ 9 w 94"/>
                <a:gd name="T49" fmla="*/ 26 h 89"/>
                <a:gd name="T50" fmla="*/ 17 w 94"/>
                <a:gd name="T51" fmla="*/ 8 h 89"/>
                <a:gd name="T52" fmla="*/ 49 w 94"/>
                <a:gd name="T53" fmla="*/ 4 h 89"/>
                <a:gd name="T54" fmla="*/ 49 w 94"/>
                <a:gd name="T55" fmla="*/ 17 h 89"/>
                <a:gd name="T56" fmla="*/ 48 w 94"/>
                <a:gd name="T57" fmla="*/ 17 h 89"/>
                <a:gd name="T58" fmla="*/ 30 w 94"/>
                <a:gd name="T59" fmla="*/ 20 h 89"/>
                <a:gd name="T60" fmla="*/ 29 w 94"/>
                <a:gd name="T61" fmla="*/ 2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4" h="89">
                  <a:moveTo>
                    <a:pt x="29" y="26"/>
                  </a:moveTo>
                  <a:cubicBezTo>
                    <a:pt x="54" y="26"/>
                    <a:pt x="54" y="26"/>
                    <a:pt x="54" y="26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66"/>
                    <a:pt x="75" y="66"/>
                    <a:pt x="75" y="66"/>
                  </a:cubicBezTo>
                  <a:cubicBezTo>
                    <a:pt x="75" y="66"/>
                    <a:pt x="74" y="74"/>
                    <a:pt x="83" y="74"/>
                  </a:cubicBezTo>
                  <a:cubicBezTo>
                    <a:pt x="83" y="74"/>
                    <a:pt x="88" y="74"/>
                    <a:pt x="92" y="72"/>
                  </a:cubicBezTo>
                  <a:cubicBezTo>
                    <a:pt x="94" y="72"/>
                    <a:pt x="94" y="72"/>
                    <a:pt x="94" y="72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82" y="89"/>
                    <a:pt x="68" y="86"/>
                  </a:cubicBezTo>
                  <a:cubicBezTo>
                    <a:pt x="68" y="86"/>
                    <a:pt x="58" y="84"/>
                    <a:pt x="55" y="76"/>
                  </a:cubicBezTo>
                  <a:cubicBezTo>
                    <a:pt x="55" y="76"/>
                    <a:pt x="54" y="73"/>
                    <a:pt x="54" y="68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8" y="13"/>
                    <a:pt x="17" y="8"/>
                  </a:cubicBezTo>
                  <a:cubicBezTo>
                    <a:pt x="17" y="8"/>
                    <a:pt x="26" y="0"/>
                    <a:pt x="49" y="4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34" y="13"/>
                    <a:pt x="30" y="20"/>
                  </a:cubicBezTo>
                  <a:cubicBezTo>
                    <a:pt x="30" y="20"/>
                    <a:pt x="29" y="23"/>
                    <a:pt x="29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</p:grpSp>
      <p:sp>
        <p:nvSpPr>
          <p:cNvPr id="15" name="Freeform 5"/>
          <p:cNvSpPr>
            <a:spLocks/>
          </p:cNvSpPr>
          <p:nvPr userDrawn="1"/>
        </p:nvSpPr>
        <p:spPr bwMode="auto">
          <a:xfrm>
            <a:off x="7442779" y="1643943"/>
            <a:ext cx="4068096" cy="3052352"/>
          </a:xfrm>
          <a:custGeom>
            <a:avLst/>
            <a:gdLst>
              <a:gd name="T0" fmla="*/ 1006 w 1006"/>
              <a:gd name="T1" fmla="*/ 0 h 1007"/>
              <a:gd name="T2" fmla="*/ 65 w 1006"/>
              <a:gd name="T3" fmla="*/ 0 h 1007"/>
              <a:gd name="T4" fmla="*/ 0 w 1006"/>
              <a:gd name="T5" fmla="*/ 65 h 1007"/>
              <a:gd name="T6" fmla="*/ 0 w 1006"/>
              <a:gd name="T7" fmla="*/ 1007 h 1007"/>
              <a:gd name="T8" fmla="*/ 1006 w 1006"/>
              <a:gd name="T9" fmla="*/ 1007 h 1007"/>
              <a:gd name="T10" fmla="*/ 1006 w 1006"/>
              <a:gd name="T11" fmla="*/ 0 h 10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06" h="1007">
                <a:moveTo>
                  <a:pt x="1006" y="0"/>
                </a:moveTo>
                <a:cubicBezTo>
                  <a:pt x="65" y="0"/>
                  <a:pt x="65" y="0"/>
                  <a:pt x="65" y="0"/>
                </a:cubicBezTo>
                <a:cubicBezTo>
                  <a:pt x="29" y="0"/>
                  <a:pt x="0" y="29"/>
                  <a:pt x="0" y="65"/>
                </a:cubicBezTo>
                <a:cubicBezTo>
                  <a:pt x="0" y="1007"/>
                  <a:pt x="0" y="1007"/>
                  <a:pt x="0" y="1007"/>
                </a:cubicBezTo>
                <a:cubicBezTo>
                  <a:pt x="1006" y="1007"/>
                  <a:pt x="1006" y="1007"/>
                  <a:pt x="1006" y="1007"/>
                </a:cubicBezTo>
                <a:cubicBezTo>
                  <a:pt x="1006" y="0"/>
                  <a:pt x="1006" y="0"/>
                  <a:pt x="1006" y="0"/>
                </a:cubicBezTo>
              </a:path>
            </a:pathLst>
          </a:custGeom>
          <a:noFill/>
          <a:ln w="285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 dirty="0">
              <a:solidFill>
                <a:prstClr val="black"/>
              </a:solidFill>
            </a:endParaRPr>
          </a:p>
        </p:txBody>
      </p:sp>
      <p:sp>
        <p:nvSpPr>
          <p:cNvPr id="18" name="文本占位符 5"/>
          <p:cNvSpPr>
            <a:spLocks noGrp="1"/>
          </p:cNvSpPr>
          <p:nvPr>
            <p:ph type="body" sz="quarter" idx="14" hasCustomPrompt="1"/>
          </p:nvPr>
        </p:nvSpPr>
        <p:spPr>
          <a:xfrm>
            <a:off x="7674501" y="1885475"/>
            <a:ext cx="3298299" cy="16712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3800" b="1" baseline="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38PT</a:t>
            </a:r>
          </a:p>
          <a:p>
            <a:pPr lvl="0"/>
            <a:r>
              <a:rPr lang="zh-CN" altLang="en-US" dirty="0"/>
              <a:t>微软雅黑</a:t>
            </a:r>
            <a:endParaRPr lang="en-US" altLang="zh-CN" dirty="0"/>
          </a:p>
          <a:p>
            <a:pPr lvl="0"/>
            <a:r>
              <a:rPr lang="zh-CN" altLang="en-US" dirty="0"/>
              <a:t>加粗</a:t>
            </a:r>
          </a:p>
        </p:txBody>
      </p:sp>
      <p:sp>
        <p:nvSpPr>
          <p:cNvPr id="19" name="文本占位符 126"/>
          <p:cNvSpPr>
            <a:spLocks noGrp="1"/>
          </p:cNvSpPr>
          <p:nvPr>
            <p:ph type="body" sz="quarter" idx="11" hasCustomPrompt="1"/>
          </p:nvPr>
        </p:nvSpPr>
        <p:spPr>
          <a:xfrm>
            <a:off x="7674501" y="3789765"/>
            <a:ext cx="2968540" cy="585866"/>
          </a:xfrm>
          <a:prstGeom prst="rect">
            <a:avLst/>
          </a:prstGeom>
          <a:noFill/>
        </p:spPr>
        <p:txBody>
          <a:bodyPr wrap="square" tIns="468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  <a:ea typeface="+mj-ea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演讲人</a:t>
            </a:r>
            <a:r>
              <a:rPr lang="en-US" altLang="zh-CN" dirty="0"/>
              <a:t>             </a:t>
            </a:r>
          </a:p>
          <a:p>
            <a:pPr lvl="0"/>
            <a:r>
              <a:rPr lang="en-US" altLang="zh-CN" dirty="0"/>
              <a:t>16PT </a:t>
            </a:r>
            <a:r>
              <a:rPr lang="zh-CN" altLang="en-US" dirty="0"/>
              <a:t>微软雅黑</a:t>
            </a:r>
            <a:endParaRPr lang="en-US" altLang="zh-CN" dirty="0"/>
          </a:p>
        </p:txBody>
      </p:sp>
      <p:sp>
        <p:nvSpPr>
          <p:cNvPr id="16" name="矩形 15"/>
          <p:cNvSpPr/>
          <p:nvPr userDrawn="1"/>
        </p:nvSpPr>
        <p:spPr>
          <a:xfrm>
            <a:off x="744002" y="6010338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chemeClr val="bg1"/>
                </a:solidFill>
                <a:latin typeface="+mj-ea"/>
                <a:ea typeface="+mj-ea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7" name="TextBox 7"/>
          <p:cNvSpPr txBox="1">
            <a:spLocks noChangeArrowheads="1"/>
          </p:cNvSpPr>
          <p:nvPr userDrawn="1"/>
        </p:nvSpPr>
        <p:spPr bwMode="auto">
          <a:xfrm>
            <a:off x="744001" y="6205757"/>
            <a:ext cx="27029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anose="05000000000000000000" pitchFamily="2" charset="2"/>
              <a:buNone/>
            </a:pPr>
            <a:r>
              <a:rPr kumimoji="0" lang="en-US" altLang="zh-CN" sz="1000" dirty="0">
                <a:solidFill>
                  <a:srgbClr val="FFFFFF"/>
                </a:solidFill>
                <a:latin typeface="Verdana" panose="020B0604030504040204" pitchFamily="34" charset="0"/>
              </a:rPr>
              <a:t>Copyright © 2018 Neusoft Corporation</a:t>
            </a:r>
          </a:p>
        </p:txBody>
      </p:sp>
    </p:spTree>
    <p:extLst>
      <p:ext uri="{BB962C8B-B14F-4D97-AF65-F5344CB8AC3E}">
        <p14:creationId xmlns:p14="http://schemas.microsoft.com/office/powerpoint/2010/main" val="37920538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封面四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 userDrawn="1"/>
        </p:nvGrpSpPr>
        <p:grpSpPr>
          <a:xfrm>
            <a:off x="951811" y="364066"/>
            <a:ext cx="10275871" cy="2635988"/>
            <a:chOff x="769935" y="364066"/>
            <a:chExt cx="7650601" cy="2616731"/>
          </a:xfrm>
        </p:grpSpPr>
        <p:sp>
          <p:nvSpPr>
            <p:cNvPr id="9" name="任意多边形 8"/>
            <p:cNvSpPr/>
            <p:nvPr userDrawn="1"/>
          </p:nvSpPr>
          <p:spPr>
            <a:xfrm>
              <a:off x="769935" y="364066"/>
              <a:ext cx="2531706" cy="2616731"/>
            </a:xfrm>
            <a:custGeom>
              <a:avLst/>
              <a:gdLst>
                <a:gd name="connsiteX0" fmla="*/ 239986 w 2506662"/>
                <a:gd name="connsiteY0" fmla="*/ 0 h 2616731"/>
                <a:gd name="connsiteX1" fmla="*/ 2506662 w 2506662"/>
                <a:gd name="connsiteY1" fmla="*/ 0 h 2616731"/>
                <a:gd name="connsiteX2" fmla="*/ 2506662 w 2506662"/>
                <a:gd name="connsiteY2" fmla="*/ 2616731 h 2616731"/>
                <a:gd name="connsiteX3" fmla="*/ 0 w 2506662"/>
                <a:gd name="connsiteY3" fmla="*/ 2616731 h 2616731"/>
                <a:gd name="connsiteX4" fmla="*/ 0 w 2506662"/>
                <a:gd name="connsiteY4" fmla="*/ 350053 h 2616731"/>
                <a:gd name="connsiteX5" fmla="*/ 239986 w 2506662"/>
                <a:gd name="connsiteY5" fmla="*/ 0 h 26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06662" h="2616731">
                  <a:moveTo>
                    <a:pt x="239986" y="0"/>
                  </a:moveTo>
                  <a:lnTo>
                    <a:pt x="2506662" y="0"/>
                  </a:lnTo>
                  <a:lnTo>
                    <a:pt x="2506662" y="2616731"/>
                  </a:lnTo>
                  <a:lnTo>
                    <a:pt x="0" y="2616731"/>
                  </a:lnTo>
                  <a:lnTo>
                    <a:pt x="0" y="350053"/>
                  </a:lnTo>
                  <a:cubicBezTo>
                    <a:pt x="0" y="109964"/>
                    <a:pt x="-103" y="0"/>
                    <a:pt x="239986" y="0"/>
                  </a:cubicBezTo>
                  <a:close/>
                </a:path>
              </a:pathLst>
            </a:cu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  <p:sp>
          <p:nvSpPr>
            <p:cNvPr id="10" name="任意多边形 9"/>
            <p:cNvSpPr/>
            <p:nvPr userDrawn="1"/>
          </p:nvSpPr>
          <p:spPr>
            <a:xfrm>
              <a:off x="3343860" y="364066"/>
              <a:ext cx="2510520" cy="2616731"/>
            </a:xfrm>
            <a:custGeom>
              <a:avLst/>
              <a:gdLst>
                <a:gd name="connsiteX0" fmla="*/ 0 w 2506662"/>
                <a:gd name="connsiteY0" fmla="*/ 0 h 2616731"/>
                <a:gd name="connsiteX1" fmla="*/ 2506662 w 2506662"/>
                <a:gd name="connsiteY1" fmla="*/ 0 h 2616731"/>
                <a:gd name="connsiteX2" fmla="*/ 2506662 w 2506662"/>
                <a:gd name="connsiteY2" fmla="*/ 2616731 h 2616731"/>
                <a:gd name="connsiteX3" fmla="*/ 0 w 2506662"/>
                <a:gd name="connsiteY3" fmla="*/ 2616731 h 2616731"/>
                <a:gd name="connsiteX4" fmla="*/ 0 w 2506662"/>
                <a:gd name="connsiteY4" fmla="*/ 0 h 26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6662" h="2616731">
                  <a:moveTo>
                    <a:pt x="0" y="0"/>
                  </a:moveTo>
                  <a:lnTo>
                    <a:pt x="2506662" y="0"/>
                  </a:lnTo>
                  <a:lnTo>
                    <a:pt x="2506662" y="2616731"/>
                  </a:lnTo>
                  <a:lnTo>
                    <a:pt x="0" y="26167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  <p:sp>
          <p:nvSpPr>
            <p:cNvPr id="12" name="任意多边形 11"/>
            <p:cNvSpPr/>
            <p:nvPr userDrawn="1"/>
          </p:nvSpPr>
          <p:spPr>
            <a:xfrm>
              <a:off x="5898143" y="364066"/>
              <a:ext cx="2522393" cy="2616731"/>
            </a:xfrm>
            <a:custGeom>
              <a:avLst/>
              <a:gdLst>
                <a:gd name="connsiteX0" fmla="*/ 0 w 2515238"/>
                <a:gd name="connsiteY0" fmla="*/ 0 h 2616731"/>
                <a:gd name="connsiteX1" fmla="*/ 2241386 w 2515238"/>
                <a:gd name="connsiteY1" fmla="*/ 0 h 2616731"/>
                <a:gd name="connsiteX2" fmla="*/ 2506771 w 2515238"/>
                <a:gd name="connsiteY2" fmla="*/ 333120 h 2616731"/>
                <a:gd name="connsiteX3" fmla="*/ 2515238 w 2515238"/>
                <a:gd name="connsiteY3" fmla="*/ 2616731 h 2616731"/>
                <a:gd name="connsiteX4" fmla="*/ 0 w 2515238"/>
                <a:gd name="connsiteY4" fmla="*/ 2616731 h 2616731"/>
                <a:gd name="connsiteX5" fmla="*/ 0 w 2515238"/>
                <a:gd name="connsiteY5" fmla="*/ 0 h 26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5238" h="2616731">
                  <a:moveTo>
                    <a:pt x="0" y="0"/>
                  </a:moveTo>
                  <a:lnTo>
                    <a:pt x="2241386" y="0"/>
                  </a:lnTo>
                  <a:cubicBezTo>
                    <a:pt x="2481475" y="0"/>
                    <a:pt x="2506771" y="93031"/>
                    <a:pt x="2506771" y="333120"/>
                  </a:cubicBezTo>
                  <a:cubicBezTo>
                    <a:pt x="2509593" y="1094324"/>
                    <a:pt x="2512416" y="1855527"/>
                    <a:pt x="2515238" y="2616731"/>
                  </a:cubicBezTo>
                  <a:lnTo>
                    <a:pt x="0" y="26167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</p:grpSp>
      <p:sp>
        <p:nvSpPr>
          <p:cNvPr id="6" name="文本占位符 5"/>
          <p:cNvSpPr>
            <a:spLocks noGrp="1"/>
          </p:cNvSpPr>
          <p:nvPr>
            <p:ph type="body" sz="quarter" idx="14" hasCustomPrompt="1"/>
          </p:nvPr>
        </p:nvSpPr>
        <p:spPr>
          <a:xfrm>
            <a:off x="1352296" y="798514"/>
            <a:ext cx="6419677" cy="618631"/>
          </a:xfrm>
          <a:prstGeom prst="rect">
            <a:avLst/>
          </a:prstGeom>
          <a:solidFill>
            <a:srgbClr val="005BAC"/>
          </a:solidFill>
        </p:spPr>
        <p:txBody>
          <a:bodyPr>
            <a:spAutoFit/>
          </a:bodyPr>
          <a:lstStyle>
            <a:lvl1pPr marL="0" indent="0">
              <a:buNone/>
              <a:defRPr sz="3800" b="1" baseline="0">
                <a:solidFill>
                  <a:schemeClr val="bg1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38PT </a:t>
            </a:r>
            <a:r>
              <a:rPr lang="zh-CN" altLang="en-US" dirty="0"/>
              <a:t>微软雅黑 加粗</a:t>
            </a:r>
          </a:p>
        </p:txBody>
      </p:sp>
      <p:sp>
        <p:nvSpPr>
          <p:cNvPr id="11" name="文本占位符 126"/>
          <p:cNvSpPr>
            <a:spLocks noGrp="1"/>
          </p:cNvSpPr>
          <p:nvPr>
            <p:ph type="body" sz="quarter" idx="11" hasCustomPrompt="1"/>
          </p:nvPr>
        </p:nvSpPr>
        <p:spPr>
          <a:xfrm>
            <a:off x="1352296" y="2204936"/>
            <a:ext cx="5853313" cy="339645"/>
          </a:xfrm>
          <a:prstGeom prst="rect">
            <a:avLst/>
          </a:prstGeom>
          <a:solidFill>
            <a:srgbClr val="005BAC"/>
          </a:solidFill>
        </p:spPr>
        <p:txBody>
          <a:bodyPr wrap="square" tIns="468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  <a:ea typeface="+mj-ea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演讲人</a:t>
            </a:r>
            <a:r>
              <a:rPr lang="en-US" altLang="zh-CN" dirty="0"/>
              <a:t>             16 PT </a:t>
            </a:r>
            <a:r>
              <a:rPr lang="zh-CN" altLang="en-US" dirty="0"/>
              <a:t>微软雅黑</a:t>
            </a:r>
            <a:endParaRPr lang="en-US" altLang="zh-CN" dirty="0"/>
          </a:p>
        </p:txBody>
      </p:sp>
      <p:sp>
        <p:nvSpPr>
          <p:cNvPr id="31" name="图片占位符 30"/>
          <p:cNvSpPr>
            <a:spLocks noGrp="1"/>
          </p:cNvSpPr>
          <p:nvPr>
            <p:ph type="pic" sz="quarter" idx="17"/>
          </p:nvPr>
        </p:nvSpPr>
        <p:spPr>
          <a:xfrm>
            <a:off x="964279" y="3054000"/>
            <a:ext cx="10263447" cy="2622900"/>
          </a:xfrm>
          <a:custGeom>
            <a:avLst/>
            <a:gdLst>
              <a:gd name="connsiteX0" fmla="*/ 5151490 w 7697585"/>
              <a:gd name="connsiteY0" fmla="*/ 0 h 2622900"/>
              <a:gd name="connsiteX1" fmla="*/ 7618189 w 7697585"/>
              <a:gd name="connsiteY1" fmla="*/ 0 h 2622900"/>
              <a:gd name="connsiteX2" fmla="*/ 7697585 w 7697585"/>
              <a:gd name="connsiteY2" fmla="*/ 0 h 2622900"/>
              <a:gd name="connsiteX3" fmla="*/ 7697585 w 7697585"/>
              <a:gd name="connsiteY3" fmla="*/ 1143928 h 2622900"/>
              <a:gd name="connsiteX4" fmla="*/ 7697584 w 7697585"/>
              <a:gd name="connsiteY4" fmla="*/ 1143928 h 2622900"/>
              <a:gd name="connsiteX5" fmla="*/ 7697584 w 7697585"/>
              <a:gd name="connsiteY5" fmla="*/ 2543505 h 2622900"/>
              <a:gd name="connsiteX6" fmla="*/ 7618189 w 7697585"/>
              <a:gd name="connsiteY6" fmla="*/ 2622900 h 2622900"/>
              <a:gd name="connsiteX7" fmla="*/ 5151490 w 7697585"/>
              <a:gd name="connsiteY7" fmla="*/ 2622900 h 2622900"/>
              <a:gd name="connsiteX8" fmla="*/ 2581562 w 7697585"/>
              <a:gd name="connsiteY8" fmla="*/ 0 h 2622900"/>
              <a:gd name="connsiteX9" fmla="*/ 5105771 w 7697585"/>
              <a:gd name="connsiteY9" fmla="*/ 0 h 2622900"/>
              <a:gd name="connsiteX10" fmla="*/ 5105771 w 7697585"/>
              <a:gd name="connsiteY10" fmla="*/ 2622900 h 2622900"/>
              <a:gd name="connsiteX11" fmla="*/ 2581562 w 7697585"/>
              <a:gd name="connsiteY11" fmla="*/ 2622900 h 2622900"/>
              <a:gd name="connsiteX12" fmla="*/ 1 w 7697585"/>
              <a:gd name="connsiteY12" fmla="*/ 0 h 2622900"/>
              <a:gd name="connsiteX13" fmla="*/ 79395 w 7697585"/>
              <a:gd name="connsiteY13" fmla="*/ 0 h 2622900"/>
              <a:gd name="connsiteX14" fmla="*/ 2535843 w 7697585"/>
              <a:gd name="connsiteY14" fmla="*/ 0 h 2622900"/>
              <a:gd name="connsiteX15" fmla="*/ 2535843 w 7697585"/>
              <a:gd name="connsiteY15" fmla="*/ 2622900 h 2622900"/>
              <a:gd name="connsiteX16" fmla="*/ 79395 w 7697585"/>
              <a:gd name="connsiteY16" fmla="*/ 2622900 h 2622900"/>
              <a:gd name="connsiteX17" fmla="*/ 0 w 7697585"/>
              <a:gd name="connsiteY17" fmla="*/ 2543505 h 2622900"/>
              <a:gd name="connsiteX18" fmla="*/ 0 w 7697585"/>
              <a:gd name="connsiteY18" fmla="*/ 79395 h 2622900"/>
              <a:gd name="connsiteX19" fmla="*/ 1 w 7697585"/>
              <a:gd name="connsiteY19" fmla="*/ 79390 h 26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697585" h="2622900">
                <a:moveTo>
                  <a:pt x="5151490" y="0"/>
                </a:moveTo>
                <a:lnTo>
                  <a:pt x="7618189" y="0"/>
                </a:lnTo>
                <a:lnTo>
                  <a:pt x="7697585" y="0"/>
                </a:lnTo>
                <a:lnTo>
                  <a:pt x="7697585" y="1143928"/>
                </a:lnTo>
                <a:lnTo>
                  <a:pt x="7697584" y="1143928"/>
                </a:lnTo>
                <a:lnTo>
                  <a:pt x="7697584" y="2543505"/>
                </a:lnTo>
                <a:cubicBezTo>
                  <a:pt x="7697584" y="2587354"/>
                  <a:pt x="7662038" y="2622900"/>
                  <a:pt x="7618189" y="2622900"/>
                </a:cubicBezTo>
                <a:lnTo>
                  <a:pt x="5151490" y="2622900"/>
                </a:lnTo>
                <a:close/>
                <a:moveTo>
                  <a:pt x="2581562" y="0"/>
                </a:moveTo>
                <a:lnTo>
                  <a:pt x="5105771" y="0"/>
                </a:lnTo>
                <a:lnTo>
                  <a:pt x="5105771" y="2622900"/>
                </a:lnTo>
                <a:lnTo>
                  <a:pt x="2581562" y="2622900"/>
                </a:lnTo>
                <a:close/>
                <a:moveTo>
                  <a:pt x="1" y="0"/>
                </a:moveTo>
                <a:lnTo>
                  <a:pt x="79395" y="0"/>
                </a:lnTo>
                <a:lnTo>
                  <a:pt x="2535843" y="0"/>
                </a:lnTo>
                <a:lnTo>
                  <a:pt x="2535843" y="2622900"/>
                </a:lnTo>
                <a:lnTo>
                  <a:pt x="79395" y="2622900"/>
                </a:lnTo>
                <a:cubicBezTo>
                  <a:pt x="35546" y="2622900"/>
                  <a:pt x="0" y="2587354"/>
                  <a:pt x="0" y="2543505"/>
                </a:cubicBezTo>
                <a:lnTo>
                  <a:pt x="0" y="79395"/>
                </a:lnTo>
                <a:lnTo>
                  <a:pt x="1" y="7939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zh-CN" altLang="en-US"/>
              <a:t>单击图标添加图片</a:t>
            </a:r>
            <a:endParaRPr lang="zh-CN" altLang="en-US" dirty="0"/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04905" y="6170030"/>
            <a:ext cx="1722776" cy="243314"/>
          </a:xfrm>
          <a:prstGeom prst="rect">
            <a:avLst/>
          </a:prstGeom>
        </p:spPr>
      </p:pic>
      <p:sp>
        <p:nvSpPr>
          <p:cNvPr id="14" name="文本框 13"/>
          <p:cNvSpPr txBox="1"/>
          <p:nvPr userDrawn="1"/>
        </p:nvSpPr>
        <p:spPr>
          <a:xfrm>
            <a:off x="1115229" y="6204639"/>
            <a:ext cx="52147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anose="05000000000000000000" pitchFamily="2" charset="2"/>
              <a:buNone/>
            </a:pPr>
            <a:r>
              <a:rPr lang="en-US" altLang="zh-CN" sz="1000" dirty="0">
                <a:solidFill>
                  <a:srgbClr val="595959"/>
                </a:solidFill>
                <a:latin typeface="Verdana" panose="020B0604030504040204" pitchFamily="34" charset="0"/>
              </a:rPr>
              <a:t>Copyright © 2018 </a:t>
            </a:r>
            <a:r>
              <a:rPr lang="en-US" altLang="zh-CN" sz="1000" dirty="0" err="1">
                <a:solidFill>
                  <a:srgbClr val="595959"/>
                </a:solidFill>
                <a:latin typeface="Verdana" panose="020B0604030504040204" pitchFamily="34" charset="0"/>
              </a:rPr>
              <a:t>Neusoft</a:t>
            </a:r>
            <a:r>
              <a:rPr lang="en-US" altLang="zh-CN" sz="1000" dirty="0">
                <a:solidFill>
                  <a:srgbClr val="595959"/>
                </a:solidFill>
                <a:latin typeface="Verdana" panose="020B0604030504040204" pitchFamily="34" charset="0"/>
              </a:rPr>
              <a:t> Corporation</a:t>
            </a:r>
          </a:p>
        </p:txBody>
      </p:sp>
      <p:sp>
        <p:nvSpPr>
          <p:cNvPr id="15" name="矩形 14"/>
          <p:cNvSpPr/>
          <p:nvPr userDrawn="1"/>
        </p:nvSpPr>
        <p:spPr>
          <a:xfrm>
            <a:off x="1115229" y="6001513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595959"/>
                </a:solidFill>
                <a:latin typeface="+mj-ea"/>
                <a:ea typeface="+mj-ea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595959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9373779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占位符 5"/>
          <p:cNvSpPr>
            <a:spLocks noGrp="1"/>
          </p:cNvSpPr>
          <p:nvPr>
            <p:ph type="body" sz="quarter" idx="14" hasCustomPrompt="1"/>
          </p:nvPr>
        </p:nvSpPr>
        <p:spPr>
          <a:xfrm>
            <a:off x="1352296" y="3438972"/>
            <a:ext cx="6419677" cy="618631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>
              <a:buNone/>
              <a:defRPr sz="3800" b="1" baseline="0">
                <a:solidFill>
                  <a:srgbClr val="595959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38PT </a:t>
            </a:r>
            <a:r>
              <a:rPr lang="zh-CN" altLang="en-US" dirty="0"/>
              <a:t>微软雅黑 加粗</a:t>
            </a:r>
          </a:p>
        </p:txBody>
      </p:sp>
      <p:sp>
        <p:nvSpPr>
          <p:cNvPr id="10" name="文本占位符 126"/>
          <p:cNvSpPr>
            <a:spLocks noGrp="1"/>
          </p:cNvSpPr>
          <p:nvPr>
            <p:ph type="body" sz="quarter" idx="11" hasCustomPrompt="1"/>
          </p:nvPr>
        </p:nvSpPr>
        <p:spPr>
          <a:xfrm>
            <a:off x="1352296" y="5184440"/>
            <a:ext cx="6419677" cy="339645"/>
          </a:xfrm>
          <a:prstGeom prst="rect">
            <a:avLst/>
          </a:prstGeom>
          <a:noFill/>
        </p:spPr>
        <p:txBody>
          <a:bodyPr wrap="square" tIns="468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95959"/>
                </a:solidFill>
                <a:latin typeface="+mj-ea"/>
                <a:ea typeface="+mj-ea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演讲人                </a:t>
            </a:r>
            <a:r>
              <a:rPr lang="en-US" altLang="zh-CN" dirty="0"/>
              <a:t>16 PT </a:t>
            </a:r>
            <a:r>
              <a:rPr lang="zh-CN" altLang="en-US" dirty="0"/>
              <a:t>微软雅黑</a:t>
            </a:r>
          </a:p>
        </p:txBody>
      </p:sp>
      <p:grpSp>
        <p:nvGrpSpPr>
          <p:cNvPr id="11" name="组合 10"/>
          <p:cNvGrpSpPr/>
          <p:nvPr userDrawn="1"/>
        </p:nvGrpSpPr>
        <p:grpSpPr>
          <a:xfrm>
            <a:off x="951811" y="364066"/>
            <a:ext cx="10275871" cy="2635988"/>
            <a:chOff x="769935" y="364066"/>
            <a:chExt cx="7650601" cy="2616731"/>
          </a:xfrm>
        </p:grpSpPr>
        <p:sp>
          <p:nvSpPr>
            <p:cNvPr id="12" name="任意多边形 11"/>
            <p:cNvSpPr/>
            <p:nvPr userDrawn="1"/>
          </p:nvSpPr>
          <p:spPr>
            <a:xfrm>
              <a:off x="769935" y="364066"/>
              <a:ext cx="2531706" cy="2616731"/>
            </a:xfrm>
            <a:custGeom>
              <a:avLst/>
              <a:gdLst>
                <a:gd name="connsiteX0" fmla="*/ 239986 w 2506662"/>
                <a:gd name="connsiteY0" fmla="*/ 0 h 2616731"/>
                <a:gd name="connsiteX1" fmla="*/ 2506662 w 2506662"/>
                <a:gd name="connsiteY1" fmla="*/ 0 h 2616731"/>
                <a:gd name="connsiteX2" fmla="*/ 2506662 w 2506662"/>
                <a:gd name="connsiteY2" fmla="*/ 2616731 h 2616731"/>
                <a:gd name="connsiteX3" fmla="*/ 0 w 2506662"/>
                <a:gd name="connsiteY3" fmla="*/ 2616731 h 2616731"/>
                <a:gd name="connsiteX4" fmla="*/ 0 w 2506662"/>
                <a:gd name="connsiteY4" fmla="*/ 350053 h 2616731"/>
                <a:gd name="connsiteX5" fmla="*/ 239986 w 2506662"/>
                <a:gd name="connsiteY5" fmla="*/ 0 h 26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06662" h="2616731">
                  <a:moveTo>
                    <a:pt x="239986" y="0"/>
                  </a:moveTo>
                  <a:lnTo>
                    <a:pt x="2506662" y="0"/>
                  </a:lnTo>
                  <a:lnTo>
                    <a:pt x="2506662" y="2616731"/>
                  </a:lnTo>
                  <a:lnTo>
                    <a:pt x="0" y="2616731"/>
                  </a:lnTo>
                  <a:lnTo>
                    <a:pt x="0" y="350053"/>
                  </a:lnTo>
                  <a:cubicBezTo>
                    <a:pt x="0" y="109964"/>
                    <a:pt x="-103" y="0"/>
                    <a:pt x="239986" y="0"/>
                  </a:cubicBezTo>
                  <a:close/>
                </a:path>
              </a:pathLst>
            </a:cu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  <p:sp>
          <p:nvSpPr>
            <p:cNvPr id="15" name="任意多边形 14"/>
            <p:cNvSpPr/>
            <p:nvPr userDrawn="1"/>
          </p:nvSpPr>
          <p:spPr>
            <a:xfrm>
              <a:off x="3343860" y="364066"/>
              <a:ext cx="2510520" cy="2616731"/>
            </a:xfrm>
            <a:custGeom>
              <a:avLst/>
              <a:gdLst>
                <a:gd name="connsiteX0" fmla="*/ 0 w 2506662"/>
                <a:gd name="connsiteY0" fmla="*/ 0 h 2616731"/>
                <a:gd name="connsiteX1" fmla="*/ 2506662 w 2506662"/>
                <a:gd name="connsiteY1" fmla="*/ 0 h 2616731"/>
                <a:gd name="connsiteX2" fmla="*/ 2506662 w 2506662"/>
                <a:gd name="connsiteY2" fmla="*/ 2616731 h 2616731"/>
                <a:gd name="connsiteX3" fmla="*/ 0 w 2506662"/>
                <a:gd name="connsiteY3" fmla="*/ 2616731 h 2616731"/>
                <a:gd name="connsiteX4" fmla="*/ 0 w 2506662"/>
                <a:gd name="connsiteY4" fmla="*/ 0 h 26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6662" h="2616731">
                  <a:moveTo>
                    <a:pt x="0" y="0"/>
                  </a:moveTo>
                  <a:lnTo>
                    <a:pt x="2506662" y="0"/>
                  </a:lnTo>
                  <a:lnTo>
                    <a:pt x="2506662" y="2616731"/>
                  </a:lnTo>
                  <a:lnTo>
                    <a:pt x="0" y="26167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  <p:sp>
          <p:nvSpPr>
            <p:cNvPr id="16" name="任意多边形 15"/>
            <p:cNvSpPr/>
            <p:nvPr userDrawn="1"/>
          </p:nvSpPr>
          <p:spPr>
            <a:xfrm>
              <a:off x="5898143" y="364066"/>
              <a:ext cx="2522393" cy="2616731"/>
            </a:xfrm>
            <a:custGeom>
              <a:avLst/>
              <a:gdLst>
                <a:gd name="connsiteX0" fmla="*/ 0 w 2515238"/>
                <a:gd name="connsiteY0" fmla="*/ 0 h 2616731"/>
                <a:gd name="connsiteX1" fmla="*/ 2241386 w 2515238"/>
                <a:gd name="connsiteY1" fmla="*/ 0 h 2616731"/>
                <a:gd name="connsiteX2" fmla="*/ 2506771 w 2515238"/>
                <a:gd name="connsiteY2" fmla="*/ 333120 h 2616731"/>
                <a:gd name="connsiteX3" fmla="*/ 2515238 w 2515238"/>
                <a:gd name="connsiteY3" fmla="*/ 2616731 h 2616731"/>
                <a:gd name="connsiteX4" fmla="*/ 0 w 2515238"/>
                <a:gd name="connsiteY4" fmla="*/ 2616731 h 2616731"/>
                <a:gd name="connsiteX5" fmla="*/ 0 w 2515238"/>
                <a:gd name="connsiteY5" fmla="*/ 0 h 26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5238" h="2616731">
                  <a:moveTo>
                    <a:pt x="0" y="0"/>
                  </a:moveTo>
                  <a:lnTo>
                    <a:pt x="2241386" y="0"/>
                  </a:lnTo>
                  <a:cubicBezTo>
                    <a:pt x="2481475" y="0"/>
                    <a:pt x="2506771" y="93031"/>
                    <a:pt x="2506771" y="333120"/>
                  </a:cubicBezTo>
                  <a:cubicBezTo>
                    <a:pt x="2509593" y="1094324"/>
                    <a:pt x="2512416" y="1855527"/>
                    <a:pt x="2515238" y="2616731"/>
                  </a:cubicBezTo>
                  <a:lnTo>
                    <a:pt x="0" y="26167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</p:grp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04905" y="6170030"/>
            <a:ext cx="1722776" cy="243314"/>
          </a:xfrm>
          <a:prstGeom prst="rect">
            <a:avLst/>
          </a:prstGeom>
        </p:spPr>
      </p:pic>
      <p:sp>
        <p:nvSpPr>
          <p:cNvPr id="13" name="文本框 12"/>
          <p:cNvSpPr txBox="1"/>
          <p:nvPr userDrawn="1"/>
        </p:nvSpPr>
        <p:spPr>
          <a:xfrm>
            <a:off x="1115229" y="6204639"/>
            <a:ext cx="52147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anose="05000000000000000000" pitchFamily="2" charset="2"/>
              <a:buNone/>
            </a:pPr>
            <a:r>
              <a:rPr lang="en-US" altLang="zh-CN" sz="1000" dirty="0">
                <a:solidFill>
                  <a:srgbClr val="595959"/>
                </a:solidFill>
                <a:latin typeface="Verdana" panose="020B0604030504040204" pitchFamily="34" charset="0"/>
              </a:rPr>
              <a:t>Copyright © 2018 </a:t>
            </a:r>
            <a:r>
              <a:rPr lang="en-US" altLang="zh-CN" sz="1000" dirty="0" err="1">
                <a:solidFill>
                  <a:srgbClr val="595959"/>
                </a:solidFill>
                <a:latin typeface="Verdana" panose="020B0604030504040204" pitchFamily="34" charset="0"/>
              </a:rPr>
              <a:t>Neusoft</a:t>
            </a:r>
            <a:r>
              <a:rPr lang="en-US" altLang="zh-CN" sz="1000" dirty="0">
                <a:solidFill>
                  <a:srgbClr val="595959"/>
                </a:solidFill>
                <a:latin typeface="Verdana" panose="020B0604030504040204" pitchFamily="34" charset="0"/>
              </a:rPr>
              <a:t> Corporation</a:t>
            </a:r>
          </a:p>
        </p:txBody>
      </p:sp>
      <p:sp>
        <p:nvSpPr>
          <p:cNvPr id="14" name="矩形 13"/>
          <p:cNvSpPr/>
          <p:nvPr userDrawn="1"/>
        </p:nvSpPr>
        <p:spPr>
          <a:xfrm>
            <a:off x="1115229" y="6001513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595959"/>
                </a:solidFill>
                <a:latin typeface="+mj-ea"/>
                <a:ea typeface="+mj-ea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595959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429812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分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 userDrawn="1"/>
        </p:nvGrpSpPr>
        <p:grpSpPr>
          <a:xfrm flipH="1">
            <a:off x="417791" y="1830879"/>
            <a:ext cx="2094808" cy="3196245"/>
            <a:chOff x="795943" y="1234670"/>
            <a:chExt cx="1571106" cy="3196245"/>
          </a:xfrm>
        </p:grpSpPr>
        <p:sp>
          <p:nvSpPr>
            <p:cNvPr id="4" name="单圆角矩形 3"/>
            <p:cNvSpPr/>
            <p:nvPr userDrawn="1"/>
          </p:nvSpPr>
          <p:spPr>
            <a:xfrm flipH="1">
              <a:off x="795943" y="1234670"/>
              <a:ext cx="1571106" cy="1571106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>
                <a:solidFill>
                  <a:prstClr val="white"/>
                </a:solidFill>
              </a:endParaRPr>
            </a:p>
          </p:txBody>
        </p:sp>
        <p:sp>
          <p:nvSpPr>
            <p:cNvPr id="6" name="单圆角矩形 5"/>
            <p:cNvSpPr/>
            <p:nvPr userDrawn="1"/>
          </p:nvSpPr>
          <p:spPr>
            <a:xfrm flipH="1" flipV="1">
              <a:off x="795943" y="2859809"/>
              <a:ext cx="1571106" cy="1571106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7" name="文本占位符 5"/>
          <p:cNvSpPr>
            <a:spLocks noGrp="1"/>
          </p:cNvSpPr>
          <p:nvPr>
            <p:ph type="body" sz="quarter" idx="14" hasCustomPrompt="1"/>
          </p:nvPr>
        </p:nvSpPr>
        <p:spPr>
          <a:xfrm>
            <a:off x="3135942" y="2819433"/>
            <a:ext cx="6419677" cy="1217769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>
              <a:buNone/>
              <a:defRPr sz="3600" b="1" baseline="0">
                <a:solidFill>
                  <a:srgbClr val="005BAC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36PT </a:t>
            </a:r>
            <a:r>
              <a:rPr lang="zh-CN" altLang="en-US" dirty="0"/>
              <a:t>微软雅黑 </a:t>
            </a:r>
            <a:endParaRPr lang="en-US" altLang="zh-CN" dirty="0"/>
          </a:p>
          <a:p>
            <a:pPr lvl="0"/>
            <a:r>
              <a:rPr lang="zh-CN" altLang="en-US" dirty="0"/>
              <a:t>加粗</a:t>
            </a:r>
          </a:p>
        </p:txBody>
      </p:sp>
    </p:spTree>
    <p:extLst>
      <p:ext uri="{BB962C8B-B14F-4D97-AF65-F5344CB8AC3E}">
        <p14:creationId xmlns:p14="http://schemas.microsoft.com/office/powerpoint/2010/main" val="42577810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单圆角矩形 5"/>
          <p:cNvSpPr/>
          <p:nvPr userDrawn="1"/>
        </p:nvSpPr>
        <p:spPr>
          <a:xfrm flipH="1">
            <a:off x="11648901" y="598514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B3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1" name="单圆角矩形 10"/>
          <p:cNvSpPr/>
          <p:nvPr userDrawn="1"/>
        </p:nvSpPr>
        <p:spPr>
          <a:xfrm flipH="1" flipV="1">
            <a:off x="11648901" y="1023676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5B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881240" y="913873"/>
            <a:ext cx="10627429" cy="4915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32PT </a:t>
            </a:r>
            <a:r>
              <a:rPr lang="zh-CN" altLang="en-US" dirty="0"/>
              <a:t>微软雅黑 加粗</a:t>
            </a:r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881239" y="1468699"/>
            <a:ext cx="10627431" cy="2545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18 PT </a:t>
            </a:r>
            <a:r>
              <a:rPr lang="zh-CN" altLang="en-US" dirty="0"/>
              <a:t>微软雅黑</a:t>
            </a:r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881239" y="2113892"/>
            <a:ext cx="10627431" cy="36501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正文 </a:t>
            </a:r>
            <a:r>
              <a:rPr lang="en-US" altLang="zh-CN" dirty="0"/>
              <a:t>14 PT  </a:t>
            </a:r>
            <a:r>
              <a:rPr lang="zh-CN" altLang="en-US" dirty="0"/>
              <a:t>微软雅黑</a:t>
            </a:r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2572134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1764000"/>
            <a:ext cx="10210271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 两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881240" y="913873"/>
            <a:ext cx="10627429" cy="4915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32PT </a:t>
            </a:r>
            <a:r>
              <a:rPr lang="zh-CN" altLang="en-US" dirty="0"/>
              <a:t>微软雅黑 加粗</a:t>
            </a:r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881239" y="2113892"/>
            <a:ext cx="5180895" cy="36501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正文 </a:t>
            </a:r>
            <a:r>
              <a:rPr lang="en-US" altLang="zh-CN" dirty="0"/>
              <a:t>14 PT  </a:t>
            </a:r>
            <a:r>
              <a:rPr lang="zh-CN" altLang="en-US" dirty="0"/>
              <a:t>微软雅黑</a:t>
            </a:r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327775" y="2113892"/>
            <a:ext cx="5180895" cy="36501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正文 </a:t>
            </a:r>
            <a:r>
              <a:rPr lang="en-US" altLang="zh-CN" dirty="0"/>
              <a:t>14 PT  </a:t>
            </a:r>
            <a:r>
              <a:rPr lang="zh-CN" altLang="en-US" dirty="0"/>
              <a:t>微软雅黑</a:t>
            </a:r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881239" y="1468699"/>
            <a:ext cx="10627431" cy="2545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18 PT </a:t>
            </a:r>
            <a:r>
              <a:rPr lang="zh-CN" altLang="en-US" dirty="0"/>
              <a:t>微软雅黑</a:t>
            </a:r>
          </a:p>
        </p:txBody>
      </p:sp>
      <p:sp>
        <p:nvSpPr>
          <p:cNvPr id="10" name="单圆角矩形 9"/>
          <p:cNvSpPr/>
          <p:nvPr userDrawn="1"/>
        </p:nvSpPr>
        <p:spPr>
          <a:xfrm flipH="1">
            <a:off x="11648901" y="598514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B3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3" name="单圆角矩形 12"/>
          <p:cNvSpPr/>
          <p:nvPr userDrawn="1"/>
        </p:nvSpPr>
        <p:spPr>
          <a:xfrm flipH="1" flipV="1">
            <a:off x="11648901" y="1023676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5B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29276154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-左字右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图片占位符 33"/>
          <p:cNvSpPr>
            <a:spLocks noGrp="1"/>
          </p:cNvSpPr>
          <p:nvPr>
            <p:ph type="pic" sz="quarter" idx="21"/>
          </p:nvPr>
        </p:nvSpPr>
        <p:spPr>
          <a:xfrm>
            <a:off x="6371422" y="2113890"/>
            <a:ext cx="5137247" cy="3860409"/>
          </a:xfrm>
          <a:custGeom>
            <a:avLst/>
            <a:gdLst>
              <a:gd name="connsiteX0" fmla="*/ 111918 w 1636713"/>
              <a:gd name="connsiteY0" fmla="*/ 0 h 1639888"/>
              <a:gd name="connsiteX1" fmla="*/ 1524795 w 1636713"/>
              <a:gd name="connsiteY1" fmla="*/ 0 h 1639888"/>
              <a:gd name="connsiteX2" fmla="*/ 1636713 w 1636713"/>
              <a:gd name="connsiteY2" fmla="*/ 111918 h 1639888"/>
              <a:gd name="connsiteX3" fmla="*/ 1636713 w 1636713"/>
              <a:gd name="connsiteY3" fmla="*/ 688047 h 1639888"/>
              <a:gd name="connsiteX4" fmla="*/ 1636713 w 1636713"/>
              <a:gd name="connsiteY4" fmla="*/ 1527970 h 1639888"/>
              <a:gd name="connsiteX5" fmla="*/ 1636713 w 1636713"/>
              <a:gd name="connsiteY5" fmla="*/ 1639888 h 1639888"/>
              <a:gd name="connsiteX6" fmla="*/ 1524795 w 1636713"/>
              <a:gd name="connsiteY6" fmla="*/ 1639888 h 1639888"/>
              <a:gd name="connsiteX7" fmla="*/ 111918 w 1636713"/>
              <a:gd name="connsiteY7" fmla="*/ 1639888 h 1639888"/>
              <a:gd name="connsiteX8" fmla="*/ 0 w 1636713"/>
              <a:gd name="connsiteY8" fmla="*/ 1639888 h 1639888"/>
              <a:gd name="connsiteX9" fmla="*/ 0 w 1636713"/>
              <a:gd name="connsiteY9" fmla="*/ 1527970 h 1639888"/>
              <a:gd name="connsiteX10" fmla="*/ 0 w 1636713"/>
              <a:gd name="connsiteY10" fmla="*/ 1295865 h 1639888"/>
              <a:gd name="connsiteX11" fmla="*/ 0 w 1636713"/>
              <a:gd name="connsiteY11" fmla="*/ 688047 h 1639888"/>
              <a:gd name="connsiteX12" fmla="*/ 0 w 1636713"/>
              <a:gd name="connsiteY12" fmla="*/ 111918 h 1639888"/>
              <a:gd name="connsiteX13" fmla="*/ 0 w 1636713"/>
              <a:gd name="connsiteY13" fmla="*/ 1 h 1639888"/>
              <a:gd name="connsiteX14" fmla="*/ 111913 w 1636713"/>
              <a:gd name="connsiteY14" fmla="*/ 1 h 16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36713" h="1639888">
                <a:moveTo>
                  <a:pt x="111918" y="0"/>
                </a:moveTo>
                <a:lnTo>
                  <a:pt x="1524795" y="0"/>
                </a:lnTo>
                <a:cubicBezTo>
                  <a:pt x="1586606" y="0"/>
                  <a:pt x="1636713" y="50107"/>
                  <a:pt x="1636713" y="111918"/>
                </a:cubicBezTo>
                <a:lnTo>
                  <a:pt x="1636713" y="688047"/>
                </a:lnTo>
                <a:lnTo>
                  <a:pt x="1636713" y="1527970"/>
                </a:lnTo>
                <a:lnTo>
                  <a:pt x="1636713" y="1639888"/>
                </a:lnTo>
                <a:lnTo>
                  <a:pt x="1524795" y="1639888"/>
                </a:lnTo>
                <a:lnTo>
                  <a:pt x="111918" y="1639888"/>
                </a:lnTo>
                <a:lnTo>
                  <a:pt x="0" y="1639888"/>
                </a:lnTo>
                <a:lnTo>
                  <a:pt x="0" y="1527970"/>
                </a:lnTo>
                <a:lnTo>
                  <a:pt x="0" y="1295865"/>
                </a:lnTo>
                <a:lnTo>
                  <a:pt x="0" y="688047"/>
                </a:lnTo>
                <a:lnTo>
                  <a:pt x="0" y="111918"/>
                </a:lnTo>
                <a:lnTo>
                  <a:pt x="0" y="1"/>
                </a:lnTo>
                <a:lnTo>
                  <a:pt x="111913" y="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zh-CN" altLang="en-US"/>
              <a:t>单击图标添加图片</a:t>
            </a:r>
          </a:p>
        </p:txBody>
      </p:sp>
      <p:sp>
        <p:nvSpPr>
          <p:cNvPr id="20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881240" y="913873"/>
            <a:ext cx="10627429" cy="4915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32PT </a:t>
            </a:r>
            <a:r>
              <a:rPr lang="zh-CN" altLang="en-US" dirty="0"/>
              <a:t>微软雅黑 加粗</a:t>
            </a:r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881239" y="2113892"/>
            <a:ext cx="5180895" cy="36501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正文 </a:t>
            </a:r>
            <a:r>
              <a:rPr lang="en-US" altLang="zh-CN" dirty="0"/>
              <a:t>14 PT  </a:t>
            </a:r>
            <a:r>
              <a:rPr lang="zh-CN" altLang="en-US" dirty="0"/>
              <a:t>微软雅黑</a:t>
            </a:r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881239" y="1468699"/>
            <a:ext cx="10627431" cy="2545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18 PT </a:t>
            </a:r>
            <a:r>
              <a:rPr lang="zh-CN" altLang="en-US" dirty="0"/>
              <a:t>微软雅黑</a:t>
            </a:r>
          </a:p>
        </p:txBody>
      </p:sp>
      <p:sp>
        <p:nvSpPr>
          <p:cNvPr id="9" name="单圆角矩形 8"/>
          <p:cNvSpPr/>
          <p:nvPr userDrawn="1"/>
        </p:nvSpPr>
        <p:spPr>
          <a:xfrm flipH="1">
            <a:off x="11648901" y="598514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B3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3" name="单圆角矩形 12"/>
          <p:cNvSpPr/>
          <p:nvPr userDrawn="1"/>
        </p:nvSpPr>
        <p:spPr>
          <a:xfrm flipH="1" flipV="1">
            <a:off x="11648901" y="1023676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5B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22195616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-左图右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图片占位符 33"/>
          <p:cNvSpPr>
            <a:spLocks noGrp="1"/>
          </p:cNvSpPr>
          <p:nvPr>
            <p:ph type="pic" sz="quarter" idx="21"/>
          </p:nvPr>
        </p:nvSpPr>
        <p:spPr>
          <a:xfrm flipH="1">
            <a:off x="881239" y="2113890"/>
            <a:ext cx="5137245" cy="3860409"/>
          </a:xfrm>
          <a:custGeom>
            <a:avLst/>
            <a:gdLst>
              <a:gd name="connsiteX0" fmla="*/ 111918 w 1636713"/>
              <a:gd name="connsiteY0" fmla="*/ 0 h 1639888"/>
              <a:gd name="connsiteX1" fmla="*/ 1524795 w 1636713"/>
              <a:gd name="connsiteY1" fmla="*/ 0 h 1639888"/>
              <a:gd name="connsiteX2" fmla="*/ 1636713 w 1636713"/>
              <a:gd name="connsiteY2" fmla="*/ 111918 h 1639888"/>
              <a:gd name="connsiteX3" fmla="*/ 1636713 w 1636713"/>
              <a:gd name="connsiteY3" fmla="*/ 688047 h 1639888"/>
              <a:gd name="connsiteX4" fmla="*/ 1636713 w 1636713"/>
              <a:gd name="connsiteY4" fmla="*/ 1527970 h 1639888"/>
              <a:gd name="connsiteX5" fmla="*/ 1636713 w 1636713"/>
              <a:gd name="connsiteY5" fmla="*/ 1639888 h 1639888"/>
              <a:gd name="connsiteX6" fmla="*/ 1524795 w 1636713"/>
              <a:gd name="connsiteY6" fmla="*/ 1639888 h 1639888"/>
              <a:gd name="connsiteX7" fmla="*/ 111918 w 1636713"/>
              <a:gd name="connsiteY7" fmla="*/ 1639888 h 1639888"/>
              <a:gd name="connsiteX8" fmla="*/ 0 w 1636713"/>
              <a:gd name="connsiteY8" fmla="*/ 1639888 h 1639888"/>
              <a:gd name="connsiteX9" fmla="*/ 0 w 1636713"/>
              <a:gd name="connsiteY9" fmla="*/ 1527970 h 1639888"/>
              <a:gd name="connsiteX10" fmla="*/ 0 w 1636713"/>
              <a:gd name="connsiteY10" fmla="*/ 1295865 h 1639888"/>
              <a:gd name="connsiteX11" fmla="*/ 0 w 1636713"/>
              <a:gd name="connsiteY11" fmla="*/ 688047 h 1639888"/>
              <a:gd name="connsiteX12" fmla="*/ 0 w 1636713"/>
              <a:gd name="connsiteY12" fmla="*/ 111918 h 1639888"/>
              <a:gd name="connsiteX13" fmla="*/ 0 w 1636713"/>
              <a:gd name="connsiteY13" fmla="*/ 1 h 1639888"/>
              <a:gd name="connsiteX14" fmla="*/ 111913 w 1636713"/>
              <a:gd name="connsiteY14" fmla="*/ 1 h 16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36713" h="1639888">
                <a:moveTo>
                  <a:pt x="111918" y="0"/>
                </a:moveTo>
                <a:lnTo>
                  <a:pt x="1524795" y="0"/>
                </a:lnTo>
                <a:cubicBezTo>
                  <a:pt x="1586606" y="0"/>
                  <a:pt x="1636713" y="50107"/>
                  <a:pt x="1636713" y="111918"/>
                </a:cubicBezTo>
                <a:lnTo>
                  <a:pt x="1636713" y="688047"/>
                </a:lnTo>
                <a:lnTo>
                  <a:pt x="1636713" y="1527970"/>
                </a:lnTo>
                <a:lnTo>
                  <a:pt x="1636713" y="1639888"/>
                </a:lnTo>
                <a:lnTo>
                  <a:pt x="1524795" y="1639888"/>
                </a:lnTo>
                <a:lnTo>
                  <a:pt x="111918" y="1639888"/>
                </a:lnTo>
                <a:lnTo>
                  <a:pt x="0" y="1639888"/>
                </a:lnTo>
                <a:lnTo>
                  <a:pt x="0" y="1527970"/>
                </a:lnTo>
                <a:lnTo>
                  <a:pt x="0" y="1295865"/>
                </a:lnTo>
                <a:lnTo>
                  <a:pt x="0" y="688047"/>
                </a:lnTo>
                <a:lnTo>
                  <a:pt x="0" y="111918"/>
                </a:lnTo>
                <a:lnTo>
                  <a:pt x="0" y="1"/>
                </a:lnTo>
                <a:lnTo>
                  <a:pt x="111913" y="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zh-CN" altLang="en-US"/>
              <a:t>单击图标添加图片</a:t>
            </a:r>
          </a:p>
        </p:txBody>
      </p:sp>
      <p:sp>
        <p:nvSpPr>
          <p:cNvPr id="20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881240" y="913873"/>
            <a:ext cx="10627429" cy="4915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32PT </a:t>
            </a:r>
            <a:r>
              <a:rPr lang="zh-CN" altLang="en-US" dirty="0"/>
              <a:t>微软雅黑 加粗</a:t>
            </a:r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327775" y="2113892"/>
            <a:ext cx="5180895" cy="36501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正文 </a:t>
            </a:r>
            <a:r>
              <a:rPr lang="en-US" altLang="zh-CN" dirty="0"/>
              <a:t>14 PT  </a:t>
            </a:r>
            <a:r>
              <a:rPr lang="zh-CN" altLang="en-US" dirty="0"/>
              <a:t>微软雅黑</a:t>
            </a:r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881239" y="1468699"/>
            <a:ext cx="10627431" cy="2545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18 PT </a:t>
            </a:r>
            <a:r>
              <a:rPr lang="zh-CN" altLang="en-US" dirty="0"/>
              <a:t>微软雅黑</a:t>
            </a:r>
          </a:p>
        </p:txBody>
      </p:sp>
      <p:sp>
        <p:nvSpPr>
          <p:cNvPr id="9" name="单圆角矩形 8"/>
          <p:cNvSpPr/>
          <p:nvPr userDrawn="1"/>
        </p:nvSpPr>
        <p:spPr>
          <a:xfrm flipH="1">
            <a:off x="11648901" y="598514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B3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3" name="单圆角矩形 12"/>
          <p:cNvSpPr/>
          <p:nvPr userDrawn="1"/>
        </p:nvSpPr>
        <p:spPr>
          <a:xfrm flipH="1" flipV="1">
            <a:off x="11648901" y="1023676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5B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615001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-双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图片占位符 33"/>
          <p:cNvSpPr>
            <a:spLocks noGrp="1"/>
          </p:cNvSpPr>
          <p:nvPr>
            <p:ph type="pic" sz="quarter" idx="21"/>
          </p:nvPr>
        </p:nvSpPr>
        <p:spPr>
          <a:xfrm flipH="1">
            <a:off x="881239" y="2113890"/>
            <a:ext cx="5227016" cy="3927867"/>
          </a:xfrm>
          <a:custGeom>
            <a:avLst/>
            <a:gdLst>
              <a:gd name="connsiteX0" fmla="*/ 111918 w 1636713"/>
              <a:gd name="connsiteY0" fmla="*/ 0 h 1639888"/>
              <a:gd name="connsiteX1" fmla="*/ 1524795 w 1636713"/>
              <a:gd name="connsiteY1" fmla="*/ 0 h 1639888"/>
              <a:gd name="connsiteX2" fmla="*/ 1636713 w 1636713"/>
              <a:gd name="connsiteY2" fmla="*/ 111918 h 1639888"/>
              <a:gd name="connsiteX3" fmla="*/ 1636713 w 1636713"/>
              <a:gd name="connsiteY3" fmla="*/ 688047 h 1639888"/>
              <a:gd name="connsiteX4" fmla="*/ 1636713 w 1636713"/>
              <a:gd name="connsiteY4" fmla="*/ 1527970 h 1639888"/>
              <a:gd name="connsiteX5" fmla="*/ 1636713 w 1636713"/>
              <a:gd name="connsiteY5" fmla="*/ 1639888 h 1639888"/>
              <a:gd name="connsiteX6" fmla="*/ 1524795 w 1636713"/>
              <a:gd name="connsiteY6" fmla="*/ 1639888 h 1639888"/>
              <a:gd name="connsiteX7" fmla="*/ 111918 w 1636713"/>
              <a:gd name="connsiteY7" fmla="*/ 1639888 h 1639888"/>
              <a:gd name="connsiteX8" fmla="*/ 0 w 1636713"/>
              <a:gd name="connsiteY8" fmla="*/ 1639888 h 1639888"/>
              <a:gd name="connsiteX9" fmla="*/ 0 w 1636713"/>
              <a:gd name="connsiteY9" fmla="*/ 1527970 h 1639888"/>
              <a:gd name="connsiteX10" fmla="*/ 0 w 1636713"/>
              <a:gd name="connsiteY10" fmla="*/ 1295865 h 1639888"/>
              <a:gd name="connsiteX11" fmla="*/ 0 w 1636713"/>
              <a:gd name="connsiteY11" fmla="*/ 688047 h 1639888"/>
              <a:gd name="connsiteX12" fmla="*/ 0 w 1636713"/>
              <a:gd name="connsiteY12" fmla="*/ 111918 h 1639888"/>
              <a:gd name="connsiteX13" fmla="*/ 0 w 1636713"/>
              <a:gd name="connsiteY13" fmla="*/ 1 h 1639888"/>
              <a:gd name="connsiteX14" fmla="*/ 111913 w 1636713"/>
              <a:gd name="connsiteY14" fmla="*/ 1 h 16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36713" h="1639888">
                <a:moveTo>
                  <a:pt x="111918" y="0"/>
                </a:moveTo>
                <a:lnTo>
                  <a:pt x="1524795" y="0"/>
                </a:lnTo>
                <a:cubicBezTo>
                  <a:pt x="1586606" y="0"/>
                  <a:pt x="1636713" y="50107"/>
                  <a:pt x="1636713" y="111918"/>
                </a:cubicBezTo>
                <a:lnTo>
                  <a:pt x="1636713" y="688047"/>
                </a:lnTo>
                <a:lnTo>
                  <a:pt x="1636713" y="1527970"/>
                </a:lnTo>
                <a:lnTo>
                  <a:pt x="1636713" y="1639888"/>
                </a:lnTo>
                <a:lnTo>
                  <a:pt x="1524795" y="1639888"/>
                </a:lnTo>
                <a:lnTo>
                  <a:pt x="111918" y="1639888"/>
                </a:lnTo>
                <a:lnTo>
                  <a:pt x="0" y="1639888"/>
                </a:lnTo>
                <a:lnTo>
                  <a:pt x="0" y="1527970"/>
                </a:lnTo>
                <a:lnTo>
                  <a:pt x="0" y="1295865"/>
                </a:lnTo>
                <a:lnTo>
                  <a:pt x="0" y="688047"/>
                </a:lnTo>
                <a:lnTo>
                  <a:pt x="0" y="111918"/>
                </a:lnTo>
                <a:lnTo>
                  <a:pt x="0" y="1"/>
                </a:lnTo>
                <a:lnTo>
                  <a:pt x="111913" y="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zh-CN" altLang="en-US" dirty="0"/>
              <a:t>单击图标添加图片</a:t>
            </a:r>
          </a:p>
        </p:txBody>
      </p:sp>
      <p:sp>
        <p:nvSpPr>
          <p:cNvPr id="20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881240" y="913873"/>
            <a:ext cx="10627429" cy="4915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32PT </a:t>
            </a:r>
            <a:r>
              <a:rPr lang="zh-CN" altLang="en-US" dirty="0"/>
              <a:t>微软雅黑 加粗</a:t>
            </a:r>
          </a:p>
        </p:txBody>
      </p:sp>
      <p:sp>
        <p:nvSpPr>
          <p:cNvPr id="10" name="图片占位符 33"/>
          <p:cNvSpPr>
            <a:spLocks noGrp="1"/>
          </p:cNvSpPr>
          <p:nvPr>
            <p:ph type="pic" sz="quarter" idx="22"/>
          </p:nvPr>
        </p:nvSpPr>
        <p:spPr>
          <a:xfrm>
            <a:off x="6281653" y="2113890"/>
            <a:ext cx="5227016" cy="3927867"/>
          </a:xfrm>
          <a:custGeom>
            <a:avLst/>
            <a:gdLst>
              <a:gd name="connsiteX0" fmla="*/ 111918 w 1636713"/>
              <a:gd name="connsiteY0" fmla="*/ 0 h 1639888"/>
              <a:gd name="connsiteX1" fmla="*/ 1524795 w 1636713"/>
              <a:gd name="connsiteY1" fmla="*/ 0 h 1639888"/>
              <a:gd name="connsiteX2" fmla="*/ 1636713 w 1636713"/>
              <a:gd name="connsiteY2" fmla="*/ 111918 h 1639888"/>
              <a:gd name="connsiteX3" fmla="*/ 1636713 w 1636713"/>
              <a:gd name="connsiteY3" fmla="*/ 688047 h 1639888"/>
              <a:gd name="connsiteX4" fmla="*/ 1636713 w 1636713"/>
              <a:gd name="connsiteY4" fmla="*/ 1527970 h 1639888"/>
              <a:gd name="connsiteX5" fmla="*/ 1636713 w 1636713"/>
              <a:gd name="connsiteY5" fmla="*/ 1639888 h 1639888"/>
              <a:gd name="connsiteX6" fmla="*/ 1524795 w 1636713"/>
              <a:gd name="connsiteY6" fmla="*/ 1639888 h 1639888"/>
              <a:gd name="connsiteX7" fmla="*/ 111918 w 1636713"/>
              <a:gd name="connsiteY7" fmla="*/ 1639888 h 1639888"/>
              <a:gd name="connsiteX8" fmla="*/ 0 w 1636713"/>
              <a:gd name="connsiteY8" fmla="*/ 1639888 h 1639888"/>
              <a:gd name="connsiteX9" fmla="*/ 0 w 1636713"/>
              <a:gd name="connsiteY9" fmla="*/ 1527970 h 1639888"/>
              <a:gd name="connsiteX10" fmla="*/ 0 w 1636713"/>
              <a:gd name="connsiteY10" fmla="*/ 1295865 h 1639888"/>
              <a:gd name="connsiteX11" fmla="*/ 0 w 1636713"/>
              <a:gd name="connsiteY11" fmla="*/ 688047 h 1639888"/>
              <a:gd name="connsiteX12" fmla="*/ 0 w 1636713"/>
              <a:gd name="connsiteY12" fmla="*/ 111918 h 1639888"/>
              <a:gd name="connsiteX13" fmla="*/ 0 w 1636713"/>
              <a:gd name="connsiteY13" fmla="*/ 1 h 1639888"/>
              <a:gd name="connsiteX14" fmla="*/ 111913 w 1636713"/>
              <a:gd name="connsiteY14" fmla="*/ 1 h 16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36713" h="1639888">
                <a:moveTo>
                  <a:pt x="111918" y="0"/>
                </a:moveTo>
                <a:lnTo>
                  <a:pt x="1524795" y="0"/>
                </a:lnTo>
                <a:cubicBezTo>
                  <a:pt x="1586606" y="0"/>
                  <a:pt x="1636713" y="50107"/>
                  <a:pt x="1636713" y="111918"/>
                </a:cubicBezTo>
                <a:lnTo>
                  <a:pt x="1636713" y="688047"/>
                </a:lnTo>
                <a:lnTo>
                  <a:pt x="1636713" y="1527970"/>
                </a:lnTo>
                <a:lnTo>
                  <a:pt x="1636713" y="1639888"/>
                </a:lnTo>
                <a:lnTo>
                  <a:pt x="1524795" y="1639888"/>
                </a:lnTo>
                <a:lnTo>
                  <a:pt x="111918" y="1639888"/>
                </a:lnTo>
                <a:lnTo>
                  <a:pt x="0" y="1639888"/>
                </a:lnTo>
                <a:lnTo>
                  <a:pt x="0" y="1527970"/>
                </a:lnTo>
                <a:lnTo>
                  <a:pt x="0" y="1295865"/>
                </a:lnTo>
                <a:lnTo>
                  <a:pt x="0" y="688047"/>
                </a:lnTo>
                <a:lnTo>
                  <a:pt x="0" y="111918"/>
                </a:lnTo>
                <a:lnTo>
                  <a:pt x="0" y="1"/>
                </a:lnTo>
                <a:lnTo>
                  <a:pt x="111913" y="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zh-CN" altLang="en-US" dirty="0"/>
              <a:t>单击图标添加图片</a:t>
            </a: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881239" y="1468699"/>
            <a:ext cx="10627431" cy="2545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18 PT </a:t>
            </a:r>
            <a:r>
              <a:rPr lang="zh-CN" altLang="en-US" dirty="0"/>
              <a:t>微软雅黑</a:t>
            </a:r>
          </a:p>
        </p:txBody>
      </p:sp>
      <p:sp>
        <p:nvSpPr>
          <p:cNvPr id="12" name="单圆角矩形 11"/>
          <p:cNvSpPr/>
          <p:nvPr userDrawn="1"/>
        </p:nvSpPr>
        <p:spPr>
          <a:xfrm flipH="1">
            <a:off x="11648901" y="598514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B3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" name="单圆角矩形 14"/>
          <p:cNvSpPr/>
          <p:nvPr userDrawn="1"/>
        </p:nvSpPr>
        <p:spPr>
          <a:xfrm flipH="1" flipV="1">
            <a:off x="11648901" y="1023676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5B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27758051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-左字右四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图片占位符 26"/>
          <p:cNvSpPr>
            <a:spLocks noGrp="1"/>
          </p:cNvSpPr>
          <p:nvPr>
            <p:ph type="pic" sz="quarter" idx="17"/>
          </p:nvPr>
        </p:nvSpPr>
        <p:spPr>
          <a:xfrm>
            <a:off x="6776655" y="2113892"/>
            <a:ext cx="2182284" cy="1640417"/>
          </a:xfrm>
          <a:custGeom>
            <a:avLst/>
            <a:gdLst>
              <a:gd name="connsiteX0" fmla="*/ 385763 w 1636713"/>
              <a:gd name="connsiteY0" fmla="*/ 0 h 1640417"/>
              <a:gd name="connsiteX1" fmla="*/ 1630363 w 1636713"/>
              <a:gd name="connsiteY1" fmla="*/ 0 h 1640417"/>
              <a:gd name="connsiteX2" fmla="*/ 1630363 w 1636713"/>
              <a:gd name="connsiteY2" fmla="*/ 88946 h 1640417"/>
              <a:gd name="connsiteX3" fmla="*/ 1636713 w 1636713"/>
              <a:gd name="connsiteY3" fmla="*/ 120398 h 1640417"/>
              <a:gd name="connsiteX4" fmla="*/ 1636713 w 1636713"/>
              <a:gd name="connsiteY4" fmla="*/ 1005418 h 1640417"/>
              <a:gd name="connsiteX5" fmla="*/ 1636713 w 1636713"/>
              <a:gd name="connsiteY5" fmla="*/ 1517904 h 1640417"/>
              <a:gd name="connsiteX6" fmla="*/ 1636713 w 1636713"/>
              <a:gd name="connsiteY6" fmla="*/ 1638831 h 1640417"/>
              <a:gd name="connsiteX7" fmla="*/ 1630363 w 1636713"/>
              <a:gd name="connsiteY7" fmla="*/ 1638831 h 1640417"/>
              <a:gd name="connsiteX8" fmla="*/ 1630363 w 1636713"/>
              <a:gd name="connsiteY8" fmla="*/ 1640417 h 1640417"/>
              <a:gd name="connsiteX9" fmla="*/ 385763 w 1636713"/>
              <a:gd name="connsiteY9" fmla="*/ 1640417 h 1640417"/>
              <a:gd name="connsiteX10" fmla="*/ 385763 w 1636713"/>
              <a:gd name="connsiteY10" fmla="*/ 1638831 h 1640417"/>
              <a:gd name="connsiteX11" fmla="*/ 0 w 1636713"/>
              <a:gd name="connsiteY11" fmla="*/ 1638831 h 1640417"/>
              <a:gd name="connsiteX12" fmla="*/ 0 w 1636713"/>
              <a:gd name="connsiteY12" fmla="*/ 1517904 h 1640417"/>
              <a:gd name="connsiteX13" fmla="*/ 0 w 1636713"/>
              <a:gd name="connsiteY13" fmla="*/ 1005418 h 1640417"/>
              <a:gd name="connsiteX14" fmla="*/ 0 w 1636713"/>
              <a:gd name="connsiteY14" fmla="*/ 120398 h 1640417"/>
              <a:gd name="connsiteX15" fmla="*/ 120397 w 1636713"/>
              <a:gd name="connsiteY15" fmla="*/ 1 h 1640417"/>
              <a:gd name="connsiteX16" fmla="*/ 385763 w 1636713"/>
              <a:gd name="connsiteY16" fmla="*/ 1 h 1640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636713" h="1640417">
                <a:moveTo>
                  <a:pt x="385763" y="0"/>
                </a:moveTo>
                <a:lnTo>
                  <a:pt x="1630363" y="0"/>
                </a:lnTo>
                <a:lnTo>
                  <a:pt x="1630363" y="88946"/>
                </a:lnTo>
                <a:lnTo>
                  <a:pt x="1636713" y="120398"/>
                </a:lnTo>
                <a:lnTo>
                  <a:pt x="1636713" y="1005418"/>
                </a:lnTo>
                <a:lnTo>
                  <a:pt x="1636713" y="1517904"/>
                </a:lnTo>
                <a:lnTo>
                  <a:pt x="1636713" y="1638831"/>
                </a:lnTo>
                <a:lnTo>
                  <a:pt x="1630363" y="1638831"/>
                </a:lnTo>
                <a:lnTo>
                  <a:pt x="1630363" y="1640417"/>
                </a:lnTo>
                <a:lnTo>
                  <a:pt x="385763" y="1640417"/>
                </a:lnTo>
                <a:lnTo>
                  <a:pt x="385763" y="1638831"/>
                </a:lnTo>
                <a:lnTo>
                  <a:pt x="0" y="1638831"/>
                </a:lnTo>
                <a:lnTo>
                  <a:pt x="0" y="1517904"/>
                </a:lnTo>
                <a:lnTo>
                  <a:pt x="0" y="1005418"/>
                </a:lnTo>
                <a:lnTo>
                  <a:pt x="0" y="120398"/>
                </a:lnTo>
                <a:cubicBezTo>
                  <a:pt x="0" y="53905"/>
                  <a:pt x="53904" y="1"/>
                  <a:pt x="120397" y="1"/>
                </a:cubicBezTo>
                <a:lnTo>
                  <a:pt x="385763" y="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zh-CN" altLang="en-US"/>
              <a:t>单击图标添加图片</a:t>
            </a:r>
            <a:endParaRPr lang="zh-CN" altLang="en-US" dirty="0"/>
          </a:p>
        </p:txBody>
      </p:sp>
      <p:sp>
        <p:nvSpPr>
          <p:cNvPr id="11" name="图片占位符 33"/>
          <p:cNvSpPr>
            <a:spLocks noGrp="1"/>
          </p:cNvSpPr>
          <p:nvPr>
            <p:ph type="pic" sz="quarter" idx="21"/>
          </p:nvPr>
        </p:nvSpPr>
        <p:spPr>
          <a:xfrm>
            <a:off x="9046634" y="2113891"/>
            <a:ext cx="2182284" cy="1639888"/>
          </a:xfrm>
          <a:custGeom>
            <a:avLst/>
            <a:gdLst>
              <a:gd name="connsiteX0" fmla="*/ 111918 w 1636713"/>
              <a:gd name="connsiteY0" fmla="*/ 0 h 1639888"/>
              <a:gd name="connsiteX1" fmla="*/ 1524795 w 1636713"/>
              <a:gd name="connsiteY1" fmla="*/ 0 h 1639888"/>
              <a:gd name="connsiteX2" fmla="*/ 1636713 w 1636713"/>
              <a:gd name="connsiteY2" fmla="*/ 111918 h 1639888"/>
              <a:gd name="connsiteX3" fmla="*/ 1636713 w 1636713"/>
              <a:gd name="connsiteY3" fmla="*/ 688047 h 1639888"/>
              <a:gd name="connsiteX4" fmla="*/ 1636713 w 1636713"/>
              <a:gd name="connsiteY4" fmla="*/ 1527970 h 1639888"/>
              <a:gd name="connsiteX5" fmla="*/ 1636713 w 1636713"/>
              <a:gd name="connsiteY5" fmla="*/ 1639888 h 1639888"/>
              <a:gd name="connsiteX6" fmla="*/ 1524795 w 1636713"/>
              <a:gd name="connsiteY6" fmla="*/ 1639888 h 1639888"/>
              <a:gd name="connsiteX7" fmla="*/ 111918 w 1636713"/>
              <a:gd name="connsiteY7" fmla="*/ 1639888 h 1639888"/>
              <a:gd name="connsiteX8" fmla="*/ 0 w 1636713"/>
              <a:gd name="connsiteY8" fmla="*/ 1639888 h 1639888"/>
              <a:gd name="connsiteX9" fmla="*/ 0 w 1636713"/>
              <a:gd name="connsiteY9" fmla="*/ 1527970 h 1639888"/>
              <a:gd name="connsiteX10" fmla="*/ 0 w 1636713"/>
              <a:gd name="connsiteY10" fmla="*/ 1295865 h 1639888"/>
              <a:gd name="connsiteX11" fmla="*/ 0 w 1636713"/>
              <a:gd name="connsiteY11" fmla="*/ 688047 h 1639888"/>
              <a:gd name="connsiteX12" fmla="*/ 0 w 1636713"/>
              <a:gd name="connsiteY12" fmla="*/ 111918 h 1639888"/>
              <a:gd name="connsiteX13" fmla="*/ 0 w 1636713"/>
              <a:gd name="connsiteY13" fmla="*/ 1 h 1639888"/>
              <a:gd name="connsiteX14" fmla="*/ 111913 w 1636713"/>
              <a:gd name="connsiteY14" fmla="*/ 1 h 16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36713" h="1639888">
                <a:moveTo>
                  <a:pt x="111918" y="0"/>
                </a:moveTo>
                <a:lnTo>
                  <a:pt x="1524795" y="0"/>
                </a:lnTo>
                <a:cubicBezTo>
                  <a:pt x="1586606" y="0"/>
                  <a:pt x="1636713" y="50107"/>
                  <a:pt x="1636713" y="111918"/>
                </a:cubicBezTo>
                <a:lnTo>
                  <a:pt x="1636713" y="688047"/>
                </a:lnTo>
                <a:lnTo>
                  <a:pt x="1636713" y="1527970"/>
                </a:lnTo>
                <a:lnTo>
                  <a:pt x="1636713" y="1639888"/>
                </a:lnTo>
                <a:lnTo>
                  <a:pt x="1524795" y="1639888"/>
                </a:lnTo>
                <a:lnTo>
                  <a:pt x="111918" y="1639888"/>
                </a:lnTo>
                <a:lnTo>
                  <a:pt x="0" y="1639888"/>
                </a:lnTo>
                <a:lnTo>
                  <a:pt x="0" y="1527970"/>
                </a:lnTo>
                <a:lnTo>
                  <a:pt x="0" y="1295865"/>
                </a:lnTo>
                <a:lnTo>
                  <a:pt x="0" y="688047"/>
                </a:lnTo>
                <a:lnTo>
                  <a:pt x="0" y="111918"/>
                </a:lnTo>
                <a:lnTo>
                  <a:pt x="0" y="1"/>
                </a:lnTo>
                <a:lnTo>
                  <a:pt x="111913" y="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zh-CN" altLang="en-US"/>
              <a:t>单击图标添加图片</a:t>
            </a:r>
          </a:p>
        </p:txBody>
      </p:sp>
      <p:sp>
        <p:nvSpPr>
          <p:cNvPr id="12" name="图片占位符 38"/>
          <p:cNvSpPr>
            <a:spLocks noGrp="1"/>
          </p:cNvSpPr>
          <p:nvPr>
            <p:ph type="pic" sz="quarter" idx="24"/>
          </p:nvPr>
        </p:nvSpPr>
        <p:spPr>
          <a:xfrm>
            <a:off x="6776654" y="3812913"/>
            <a:ext cx="2182284" cy="1639888"/>
          </a:xfrm>
          <a:custGeom>
            <a:avLst/>
            <a:gdLst>
              <a:gd name="connsiteX0" fmla="*/ 1 w 1636713"/>
              <a:gd name="connsiteY0" fmla="*/ 0 h 1639888"/>
              <a:gd name="connsiteX1" fmla="*/ 111918 w 1636713"/>
              <a:gd name="connsiteY1" fmla="*/ 0 h 1639888"/>
              <a:gd name="connsiteX2" fmla="*/ 535891 w 1636713"/>
              <a:gd name="connsiteY2" fmla="*/ 0 h 1639888"/>
              <a:gd name="connsiteX3" fmla="*/ 1524795 w 1636713"/>
              <a:gd name="connsiteY3" fmla="*/ 0 h 1639888"/>
              <a:gd name="connsiteX4" fmla="*/ 1636713 w 1636713"/>
              <a:gd name="connsiteY4" fmla="*/ 0 h 1639888"/>
              <a:gd name="connsiteX5" fmla="*/ 1636713 w 1636713"/>
              <a:gd name="connsiteY5" fmla="*/ 111918 h 1639888"/>
              <a:gd name="connsiteX6" fmla="*/ 1636713 w 1636713"/>
              <a:gd name="connsiteY6" fmla="*/ 1051455 h 1639888"/>
              <a:gd name="connsiteX7" fmla="*/ 1636713 w 1636713"/>
              <a:gd name="connsiteY7" fmla="*/ 1527970 h 1639888"/>
              <a:gd name="connsiteX8" fmla="*/ 1636713 w 1636713"/>
              <a:gd name="connsiteY8" fmla="*/ 1639888 h 1639888"/>
              <a:gd name="connsiteX9" fmla="*/ 1524795 w 1636713"/>
              <a:gd name="connsiteY9" fmla="*/ 1639888 h 1639888"/>
              <a:gd name="connsiteX10" fmla="*/ 535891 w 1636713"/>
              <a:gd name="connsiteY10" fmla="*/ 1639888 h 1639888"/>
              <a:gd name="connsiteX11" fmla="*/ 111918 w 1636713"/>
              <a:gd name="connsiteY11" fmla="*/ 1639888 h 1639888"/>
              <a:gd name="connsiteX12" fmla="*/ 0 w 1636713"/>
              <a:gd name="connsiteY12" fmla="*/ 1527970 h 1639888"/>
              <a:gd name="connsiteX13" fmla="*/ 0 w 1636713"/>
              <a:gd name="connsiteY13" fmla="*/ 111918 h 1639888"/>
              <a:gd name="connsiteX14" fmla="*/ 1 w 1636713"/>
              <a:gd name="connsiteY14" fmla="*/ 111913 h 16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36713" h="1639888">
                <a:moveTo>
                  <a:pt x="1" y="0"/>
                </a:moveTo>
                <a:lnTo>
                  <a:pt x="111918" y="0"/>
                </a:lnTo>
                <a:lnTo>
                  <a:pt x="535891" y="0"/>
                </a:lnTo>
                <a:lnTo>
                  <a:pt x="1524795" y="0"/>
                </a:lnTo>
                <a:lnTo>
                  <a:pt x="1636713" y="0"/>
                </a:lnTo>
                <a:lnTo>
                  <a:pt x="1636713" y="111918"/>
                </a:lnTo>
                <a:lnTo>
                  <a:pt x="1636713" y="1051455"/>
                </a:lnTo>
                <a:lnTo>
                  <a:pt x="1636713" y="1527970"/>
                </a:lnTo>
                <a:lnTo>
                  <a:pt x="1636713" y="1639888"/>
                </a:lnTo>
                <a:lnTo>
                  <a:pt x="1524795" y="1639888"/>
                </a:lnTo>
                <a:lnTo>
                  <a:pt x="535891" y="1639888"/>
                </a:lnTo>
                <a:lnTo>
                  <a:pt x="111918" y="1639888"/>
                </a:lnTo>
                <a:cubicBezTo>
                  <a:pt x="50107" y="1639888"/>
                  <a:pt x="0" y="1589781"/>
                  <a:pt x="0" y="1527970"/>
                </a:cubicBezTo>
                <a:lnTo>
                  <a:pt x="0" y="111918"/>
                </a:lnTo>
                <a:lnTo>
                  <a:pt x="1" y="11191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zh-CN" altLang="en-US"/>
              <a:t>单击图标添加图片</a:t>
            </a:r>
          </a:p>
        </p:txBody>
      </p:sp>
      <p:sp>
        <p:nvSpPr>
          <p:cNvPr id="13" name="图片占位符 48"/>
          <p:cNvSpPr>
            <a:spLocks noGrp="1"/>
          </p:cNvSpPr>
          <p:nvPr>
            <p:ph type="pic" sz="quarter" idx="27"/>
          </p:nvPr>
        </p:nvSpPr>
        <p:spPr>
          <a:xfrm>
            <a:off x="9046632" y="3812913"/>
            <a:ext cx="2182285" cy="1639888"/>
          </a:xfrm>
          <a:custGeom>
            <a:avLst/>
            <a:gdLst>
              <a:gd name="connsiteX0" fmla="*/ 0 w 1636714"/>
              <a:gd name="connsiteY0" fmla="*/ 0 h 1639888"/>
              <a:gd name="connsiteX1" fmla="*/ 111918 w 1636714"/>
              <a:gd name="connsiteY1" fmla="*/ 0 h 1639888"/>
              <a:gd name="connsiteX2" fmla="*/ 1524795 w 1636714"/>
              <a:gd name="connsiteY2" fmla="*/ 0 h 1639888"/>
              <a:gd name="connsiteX3" fmla="*/ 1636714 w 1636714"/>
              <a:gd name="connsiteY3" fmla="*/ 0 h 1639888"/>
              <a:gd name="connsiteX4" fmla="*/ 1636714 w 1636714"/>
              <a:gd name="connsiteY4" fmla="*/ 784485 h 1639888"/>
              <a:gd name="connsiteX5" fmla="*/ 1636713 w 1636714"/>
              <a:gd name="connsiteY5" fmla="*/ 784485 h 1639888"/>
              <a:gd name="connsiteX6" fmla="*/ 1636713 w 1636714"/>
              <a:gd name="connsiteY6" fmla="*/ 1527970 h 1639888"/>
              <a:gd name="connsiteX7" fmla="*/ 1524795 w 1636714"/>
              <a:gd name="connsiteY7" fmla="*/ 1639888 h 1639888"/>
              <a:gd name="connsiteX8" fmla="*/ 1122891 w 1636714"/>
              <a:gd name="connsiteY8" fmla="*/ 1639888 h 1639888"/>
              <a:gd name="connsiteX9" fmla="*/ 111918 w 1636714"/>
              <a:gd name="connsiteY9" fmla="*/ 1639888 h 1639888"/>
              <a:gd name="connsiteX10" fmla="*/ 0 w 1636714"/>
              <a:gd name="connsiteY10" fmla="*/ 1639888 h 1639888"/>
              <a:gd name="connsiteX11" fmla="*/ 0 w 1636714"/>
              <a:gd name="connsiteY11" fmla="*/ 1527970 h 1639888"/>
              <a:gd name="connsiteX12" fmla="*/ 0 w 1636714"/>
              <a:gd name="connsiteY12" fmla="*/ 831845 h 1639888"/>
              <a:gd name="connsiteX13" fmla="*/ 0 w 1636714"/>
              <a:gd name="connsiteY13" fmla="*/ 784485 h 1639888"/>
              <a:gd name="connsiteX14" fmla="*/ 0 w 1636714"/>
              <a:gd name="connsiteY14" fmla="*/ 111918 h 16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36714" h="1639888">
                <a:moveTo>
                  <a:pt x="0" y="0"/>
                </a:moveTo>
                <a:lnTo>
                  <a:pt x="111918" y="0"/>
                </a:lnTo>
                <a:lnTo>
                  <a:pt x="1524795" y="0"/>
                </a:lnTo>
                <a:lnTo>
                  <a:pt x="1636714" y="0"/>
                </a:lnTo>
                <a:lnTo>
                  <a:pt x="1636714" y="784485"/>
                </a:lnTo>
                <a:lnTo>
                  <a:pt x="1636713" y="784485"/>
                </a:lnTo>
                <a:lnTo>
                  <a:pt x="1636713" y="1527970"/>
                </a:lnTo>
                <a:cubicBezTo>
                  <a:pt x="1636713" y="1589781"/>
                  <a:pt x="1586606" y="1639888"/>
                  <a:pt x="1524795" y="1639888"/>
                </a:cubicBezTo>
                <a:lnTo>
                  <a:pt x="1122891" y="1639888"/>
                </a:lnTo>
                <a:lnTo>
                  <a:pt x="111918" y="1639888"/>
                </a:lnTo>
                <a:lnTo>
                  <a:pt x="0" y="1639888"/>
                </a:lnTo>
                <a:lnTo>
                  <a:pt x="0" y="1527970"/>
                </a:lnTo>
                <a:lnTo>
                  <a:pt x="0" y="831845"/>
                </a:lnTo>
                <a:lnTo>
                  <a:pt x="0" y="784485"/>
                </a:lnTo>
                <a:lnTo>
                  <a:pt x="0" y="11191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zh-CN" altLang="en-US"/>
              <a:t>单击图标添加图片</a:t>
            </a:r>
            <a:endParaRPr lang="zh-CN" altLang="en-US" dirty="0"/>
          </a:p>
        </p:txBody>
      </p:sp>
      <p:sp>
        <p:nvSpPr>
          <p:cNvPr id="20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881240" y="913873"/>
            <a:ext cx="10627429" cy="4915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32PT </a:t>
            </a:r>
            <a:r>
              <a:rPr lang="zh-CN" altLang="en-US" dirty="0"/>
              <a:t>微软雅黑 加粗</a:t>
            </a:r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881239" y="2113892"/>
            <a:ext cx="5180895" cy="36501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正文 </a:t>
            </a:r>
            <a:r>
              <a:rPr lang="en-US" altLang="zh-CN" dirty="0"/>
              <a:t>14 PT  </a:t>
            </a:r>
            <a:r>
              <a:rPr lang="zh-CN" altLang="en-US" dirty="0"/>
              <a:t>微软雅黑</a:t>
            </a:r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881239" y="1468699"/>
            <a:ext cx="10627431" cy="2545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18 PT </a:t>
            </a:r>
            <a:r>
              <a:rPr lang="zh-CN" altLang="en-US" dirty="0"/>
              <a:t>微软雅黑</a:t>
            </a:r>
          </a:p>
        </p:txBody>
      </p:sp>
      <p:sp>
        <p:nvSpPr>
          <p:cNvPr id="16" name="单圆角矩形 15"/>
          <p:cNvSpPr/>
          <p:nvPr userDrawn="1"/>
        </p:nvSpPr>
        <p:spPr>
          <a:xfrm flipH="1">
            <a:off x="11648901" y="598514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B3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9" name="单圆角矩形 18"/>
          <p:cNvSpPr/>
          <p:nvPr userDrawn="1"/>
        </p:nvSpPr>
        <p:spPr>
          <a:xfrm flipH="1" flipV="1">
            <a:off x="11648901" y="1023676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5B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40282060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左字右表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881240" y="913873"/>
            <a:ext cx="10627429" cy="4915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32PT </a:t>
            </a:r>
            <a:r>
              <a:rPr lang="zh-CN" altLang="en-US" dirty="0"/>
              <a:t>微软雅黑 加粗</a:t>
            </a:r>
          </a:p>
        </p:txBody>
      </p:sp>
      <p:sp>
        <p:nvSpPr>
          <p:cNvPr id="15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6540853" y="2113492"/>
            <a:ext cx="4967817" cy="365125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zh-CN" altLang="en-US" dirty="0"/>
              <a:t>单击图标添加图表</a:t>
            </a:r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881239" y="2113892"/>
            <a:ext cx="5180895" cy="36501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正文 </a:t>
            </a:r>
            <a:r>
              <a:rPr lang="en-US" altLang="zh-CN" dirty="0"/>
              <a:t>14 PT  </a:t>
            </a:r>
            <a:r>
              <a:rPr lang="zh-CN" altLang="en-US" dirty="0"/>
              <a:t>微软雅黑</a:t>
            </a:r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881239" y="1468699"/>
            <a:ext cx="10627431" cy="2545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18 PT </a:t>
            </a:r>
            <a:r>
              <a:rPr lang="zh-CN" altLang="en-US" dirty="0"/>
              <a:t>微软雅黑</a:t>
            </a:r>
          </a:p>
        </p:txBody>
      </p:sp>
      <p:sp>
        <p:nvSpPr>
          <p:cNvPr id="9" name="单圆角矩形 8"/>
          <p:cNvSpPr/>
          <p:nvPr userDrawn="1"/>
        </p:nvSpPr>
        <p:spPr>
          <a:xfrm flipH="1">
            <a:off x="11648901" y="598514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B3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3" name="单圆角矩形 12"/>
          <p:cNvSpPr/>
          <p:nvPr userDrawn="1"/>
        </p:nvSpPr>
        <p:spPr>
          <a:xfrm flipH="1" flipV="1">
            <a:off x="11648901" y="1023676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5B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41649206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左表右字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881240" y="913873"/>
            <a:ext cx="10627429" cy="4915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32PT </a:t>
            </a:r>
            <a:r>
              <a:rPr lang="zh-CN" altLang="en-US" dirty="0"/>
              <a:t>微软雅黑 加粗</a:t>
            </a:r>
          </a:p>
        </p:txBody>
      </p:sp>
      <p:sp>
        <p:nvSpPr>
          <p:cNvPr id="15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907495" y="2113492"/>
            <a:ext cx="4967817" cy="365125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zh-CN" altLang="en-US" dirty="0"/>
              <a:t>单击图标添加图表</a:t>
            </a:r>
          </a:p>
        </p:txBody>
      </p:sp>
      <p:sp>
        <p:nvSpPr>
          <p:cNvPr id="8" name="文本占位符 11"/>
          <p:cNvSpPr>
            <a:spLocks noGrp="1"/>
          </p:cNvSpPr>
          <p:nvPr>
            <p:ph type="body" sz="quarter" idx="16" hasCustomPrompt="1"/>
          </p:nvPr>
        </p:nvSpPr>
        <p:spPr>
          <a:xfrm>
            <a:off x="6327775" y="2113892"/>
            <a:ext cx="5180895" cy="36501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正文 </a:t>
            </a:r>
            <a:r>
              <a:rPr lang="en-US" altLang="zh-CN" dirty="0"/>
              <a:t>14 PT  </a:t>
            </a:r>
            <a:r>
              <a:rPr lang="zh-CN" altLang="en-US" dirty="0"/>
              <a:t>微软雅黑</a:t>
            </a:r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881239" y="1468699"/>
            <a:ext cx="10627431" cy="2545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18 PT </a:t>
            </a:r>
            <a:r>
              <a:rPr lang="zh-CN" altLang="en-US" dirty="0"/>
              <a:t>微软雅黑</a:t>
            </a:r>
          </a:p>
        </p:txBody>
      </p:sp>
      <p:sp>
        <p:nvSpPr>
          <p:cNvPr id="9" name="单圆角矩形 8"/>
          <p:cNvSpPr/>
          <p:nvPr userDrawn="1"/>
        </p:nvSpPr>
        <p:spPr>
          <a:xfrm flipH="1">
            <a:off x="11648901" y="598514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B3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3" name="单圆角矩形 12"/>
          <p:cNvSpPr/>
          <p:nvPr userDrawn="1"/>
        </p:nvSpPr>
        <p:spPr>
          <a:xfrm flipH="1" flipV="1">
            <a:off x="11648901" y="1023676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5B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12990171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上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图表占位符 14"/>
          <p:cNvSpPr>
            <a:spLocks noGrp="1"/>
          </p:cNvSpPr>
          <p:nvPr>
            <p:ph type="chart" sz="quarter" idx="18"/>
          </p:nvPr>
        </p:nvSpPr>
        <p:spPr>
          <a:xfrm>
            <a:off x="915106" y="2106200"/>
            <a:ext cx="10593564" cy="3079544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zh-CN" altLang="en-US"/>
              <a:t>单击图标添加图表</a:t>
            </a: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881240" y="913873"/>
            <a:ext cx="10627429" cy="4915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32PT </a:t>
            </a:r>
            <a:r>
              <a:rPr lang="zh-CN" altLang="en-US" dirty="0"/>
              <a:t>微软雅黑 加粗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881239" y="1468699"/>
            <a:ext cx="10627431" cy="2545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18 PT </a:t>
            </a:r>
            <a:r>
              <a:rPr lang="zh-CN" altLang="en-US" dirty="0"/>
              <a:t>微软雅黑</a:t>
            </a:r>
          </a:p>
        </p:txBody>
      </p:sp>
      <p:sp>
        <p:nvSpPr>
          <p:cNvPr id="9" name="单圆角矩形 8"/>
          <p:cNvSpPr/>
          <p:nvPr userDrawn="1"/>
        </p:nvSpPr>
        <p:spPr>
          <a:xfrm flipH="1">
            <a:off x="11648901" y="598514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B3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3" name="单圆角矩形 12"/>
          <p:cNvSpPr/>
          <p:nvPr userDrawn="1"/>
        </p:nvSpPr>
        <p:spPr>
          <a:xfrm flipH="1" flipV="1">
            <a:off x="11648901" y="1023676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5B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27150657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双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881240" y="913873"/>
            <a:ext cx="10627429" cy="4915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32PT </a:t>
            </a:r>
            <a:r>
              <a:rPr lang="zh-CN" altLang="en-US" dirty="0"/>
              <a:t>微软雅黑 加粗</a:t>
            </a:r>
          </a:p>
        </p:txBody>
      </p:sp>
      <p:sp>
        <p:nvSpPr>
          <p:cNvPr id="16" name="图表占位符 14"/>
          <p:cNvSpPr>
            <a:spLocks noGrp="1"/>
          </p:cNvSpPr>
          <p:nvPr>
            <p:ph type="chart" sz="quarter" idx="18"/>
          </p:nvPr>
        </p:nvSpPr>
        <p:spPr>
          <a:xfrm>
            <a:off x="915106" y="2106200"/>
            <a:ext cx="5180895" cy="3079544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zh-CN" altLang="en-US"/>
              <a:t>单击图标添加图表</a:t>
            </a:r>
          </a:p>
        </p:txBody>
      </p:sp>
      <p:sp>
        <p:nvSpPr>
          <p:cNvPr id="18" name="图表占位符 14"/>
          <p:cNvSpPr>
            <a:spLocks noGrp="1"/>
          </p:cNvSpPr>
          <p:nvPr>
            <p:ph type="chart" sz="quarter" idx="19"/>
          </p:nvPr>
        </p:nvSpPr>
        <p:spPr>
          <a:xfrm>
            <a:off x="6343906" y="2106200"/>
            <a:ext cx="5180895" cy="3079544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zh-CN" altLang="en-US"/>
              <a:t>单击图标添加图表</a:t>
            </a: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20" hasCustomPrompt="1"/>
          </p:nvPr>
        </p:nvSpPr>
        <p:spPr>
          <a:xfrm>
            <a:off x="6326972" y="5291191"/>
            <a:ext cx="5214761" cy="13223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正文 </a:t>
            </a:r>
            <a:r>
              <a:rPr lang="en-US" altLang="zh-CN" dirty="0"/>
              <a:t>14 PT  </a:t>
            </a:r>
            <a:r>
              <a:rPr lang="zh-CN" altLang="en-US" dirty="0"/>
              <a:t>微软雅黑</a:t>
            </a:r>
            <a:endParaRPr lang="en-US" altLang="zh-CN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881239" y="1468699"/>
            <a:ext cx="10627431" cy="2545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18 PT </a:t>
            </a:r>
            <a:r>
              <a:rPr lang="zh-CN" altLang="en-US" dirty="0"/>
              <a:t>微软雅黑</a:t>
            </a:r>
          </a:p>
        </p:txBody>
      </p:sp>
      <p:sp>
        <p:nvSpPr>
          <p:cNvPr id="14" name="单圆角矩形 13"/>
          <p:cNvSpPr/>
          <p:nvPr userDrawn="1"/>
        </p:nvSpPr>
        <p:spPr>
          <a:xfrm flipH="1">
            <a:off x="11648901" y="598514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B3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7" name="单圆角矩形 16"/>
          <p:cNvSpPr/>
          <p:nvPr userDrawn="1"/>
        </p:nvSpPr>
        <p:spPr>
          <a:xfrm flipH="1" flipV="1">
            <a:off x="11648901" y="1023676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5B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38131500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三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881240" y="913873"/>
            <a:ext cx="10627429" cy="4915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32PT </a:t>
            </a:r>
            <a:r>
              <a:rPr lang="zh-CN" altLang="en-US" dirty="0"/>
              <a:t>微软雅黑 加粗</a:t>
            </a:r>
          </a:p>
        </p:txBody>
      </p:sp>
      <p:sp>
        <p:nvSpPr>
          <p:cNvPr id="15" name="图表占位符 12"/>
          <p:cNvSpPr>
            <a:spLocks noGrp="1"/>
          </p:cNvSpPr>
          <p:nvPr>
            <p:ph type="chart" sz="quarter" idx="17"/>
          </p:nvPr>
        </p:nvSpPr>
        <p:spPr>
          <a:xfrm>
            <a:off x="7993238" y="2106201"/>
            <a:ext cx="3515431" cy="1183011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zh-CN" altLang="en-US"/>
              <a:t>单击图标添加图表</a:t>
            </a:r>
          </a:p>
        </p:txBody>
      </p:sp>
      <p:sp>
        <p:nvSpPr>
          <p:cNvPr id="16" name="图表占位符 14"/>
          <p:cNvSpPr>
            <a:spLocks noGrp="1"/>
          </p:cNvSpPr>
          <p:nvPr>
            <p:ph type="chart" sz="quarter" idx="18"/>
          </p:nvPr>
        </p:nvSpPr>
        <p:spPr>
          <a:xfrm>
            <a:off x="915106" y="2106200"/>
            <a:ext cx="6934351" cy="3079544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zh-CN" altLang="en-US"/>
              <a:t>单击图标添加图表</a:t>
            </a:r>
          </a:p>
        </p:txBody>
      </p:sp>
      <p:sp>
        <p:nvSpPr>
          <p:cNvPr id="17" name="图表占位符 12"/>
          <p:cNvSpPr>
            <a:spLocks noGrp="1"/>
          </p:cNvSpPr>
          <p:nvPr>
            <p:ph type="chart" sz="quarter" idx="19"/>
          </p:nvPr>
        </p:nvSpPr>
        <p:spPr>
          <a:xfrm>
            <a:off x="7993238" y="3411019"/>
            <a:ext cx="3515431" cy="1774727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zh-CN" altLang="en-US"/>
              <a:t>单击图标添加图表</a:t>
            </a:r>
          </a:p>
        </p:txBody>
      </p:sp>
      <p:sp>
        <p:nvSpPr>
          <p:cNvPr id="19" name="文本占位符 11"/>
          <p:cNvSpPr>
            <a:spLocks noGrp="1"/>
          </p:cNvSpPr>
          <p:nvPr>
            <p:ph type="body" sz="quarter" idx="20" hasCustomPrompt="1"/>
          </p:nvPr>
        </p:nvSpPr>
        <p:spPr>
          <a:xfrm>
            <a:off x="6326972" y="5291191"/>
            <a:ext cx="5214761" cy="13223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正文 </a:t>
            </a:r>
            <a:r>
              <a:rPr lang="en-US" altLang="zh-CN" dirty="0"/>
              <a:t>14 PT  </a:t>
            </a:r>
            <a:r>
              <a:rPr lang="zh-CN" altLang="en-US" dirty="0"/>
              <a:t>微软雅黑</a:t>
            </a:r>
            <a:endParaRPr lang="en-US" altLang="zh-CN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881239" y="1468699"/>
            <a:ext cx="10627431" cy="2545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altLang="zh-CN" dirty="0"/>
              <a:t>18 PT </a:t>
            </a:r>
            <a:r>
              <a:rPr lang="zh-CN" altLang="en-US" dirty="0"/>
              <a:t>微软雅黑</a:t>
            </a:r>
          </a:p>
        </p:txBody>
      </p:sp>
      <p:sp>
        <p:nvSpPr>
          <p:cNvPr id="14" name="单圆角矩形 13"/>
          <p:cNvSpPr/>
          <p:nvPr userDrawn="1"/>
        </p:nvSpPr>
        <p:spPr>
          <a:xfrm flipH="1">
            <a:off x="11648901" y="598514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B3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20" name="单圆角矩形 19"/>
          <p:cNvSpPr/>
          <p:nvPr userDrawn="1"/>
        </p:nvSpPr>
        <p:spPr>
          <a:xfrm flipH="1" flipV="1">
            <a:off x="11648901" y="1023676"/>
            <a:ext cx="543099" cy="407324"/>
          </a:xfrm>
          <a:prstGeom prst="round1Rect">
            <a:avLst>
              <a:gd name="adj" fmla="val 8202"/>
            </a:avLst>
          </a:prstGeom>
          <a:solidFill>
            <a:srgbClr val="005B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13561962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1764000"/>
            <a:ext cx="10210271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  <a:p>
            <a:pPr lvl="0"/>
            <a:endParaRPr lang="en-US" altLang="zh-CN" dirty="0"/>
          </a:p>
        </p:txBody>
      </p:sp>
      <p:sp>
        <p:nvSpPr>
          <p:cNvPr id="11" name="矩形 10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86398" y="3159300"/>
            <a:ext cx="3819204" cy="539400"/>
          </a:xfrm>
          <a:prstGeom prst="rect">
            <a:avLst/>
          </a:prstGeom>
        </p:spPr>
      </p:pic>
      <p:sp>
        <p:nvSpPr>
          <p:cNvPr id="4" name="TextBox 7"/>
          <p:cNvSpPr txBox="1">
            <a:spLocks noChangeArrowheads="1"/>
          </p:cNvSpPr>
          <p:nvPr userDrawn="1"/>
        </p:nvSpPr>
        <p:spPr bwMode="auto">
          <a:xfrm>
            <a:off x="4294011" y="6205757"/>
            <a:ext cx="27029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anose="05000000000000000000" pitchFamily="2" charset="2"/>
              <a:buNone/>
            </a:pPr>
            <a:r>
              <a:rPr kumimoji="0" lang="en-US" altLang="zh-CN" sz="1000" dirty="0">
                <a:solidFill>
                  <a:srgbClr val="595959"/>
                </a:solidFill>
                <a:latin typeface="Verdana" panose="020B0604030504040204" pitchFamily="34" charset="0"/>
              </a:rPr>
              <a:t>Copyright © 2018 Neusoft Corporation</a:t>
            </a:r>
          </a:p>
        </p:txBody>
      </p:sp>
    </p:spTree>
    <p:extLst>
      <p:ext uri="{BB962C8B-B14F-4D97-AF65-F5344CB8AC3E}">
        <p14:creationId xmlns:p14="http://schemas.microsoft.com/office/powerpoint/2010/main" val="52170951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902664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Line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380999" y="1373188"/>
            <a:ext cx="11301984" cy="381000"/>
          </a:xfrm>
          <a:prstGeom prst="rect">
            <a:avLst/>
          </a:prstGeom>
        </p:spPr>
        <p:txBody>
          <a:bodyPr/>
          <a:lstStyle>
            <a:lvl1pPr>
              <a:buNone/>
              <a:defRPr lang="en-US" sz="1500" baseline="0" dirty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>
                <a:solidFill>
                  <a:srgbClr val="C00000"/>
                </a:solidFill>
              </a:defRPr>
            </a:lvl2pPr>
            <a:lvl3pPr>
              <a:buNone/>
              <a:defRPr>
                <a:solidFill>
                  <a:srgbClr val="C00000"/>
                </a:solidFill>
              </a:defRPr>
            </a:lvl3pPr>
            <a:lvl4pPr>
              <a:buNone/>
              <a:defRPr>
                <a:solidFill>
                  <a:srgbClr val="C00000"/>
                </a:solidFill>
              </a:defRPr>
            </a:lvl4pPr>
            <a:lvl5pPr>
              <a:buNone/>
              <a:defRPr>
                <a:solidFill>
                  <a:srgbClr val="C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68595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73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6632" y="1196976"/>
            <a:ext cx="11413661" cy="49688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135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26712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4952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Qiao\Desktop\2012.06.04京东商城公司介绍PPT模板设计\PNG\page-02-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 descr="C:\Users\Qiao\Desktop\2012.06.04京东商城公司介绍PPT模板设计\PNG\lin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738716"/>
            <a:ext cx="12192000" cy="119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4"/>
          <p:cNvSpPr txBox="1">
            <a:spLocks noChangeArrowheads="1"/>
          </p:cNvSpPr>
          <p:nvPr userDrawn="1"/>
        </p:nvSpPr>
        <p:spPr bwMode="auto">
          <a:xfrm>
            <a:off x="10992290" y="6390945"/>
            <a:ext cx="1209791" cy="248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 smtClean="0">
                <a:solidFill>
                  <a:schemeClr val="bg1"/>
                </a:solidFill>
                <a:latin typeface="Arial" charset="0"/>
                <a:ea typeface="宋体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 sz="953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age </a:t>
            </a:r>
            <a:fld id="{CEBA55D4-4197-4A70-A6C8-E6CCC2AF5E1E}" type="slidenum">
              <a:rPr lang="de-DE" altLang="zh-CN" sz="1111" b="1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defRPr/>
              </a:pPr>
              <a:t>‹#›</a:t>
            </a:fld>
            <a:endParaRPr lang="de-DE" altLang="zh-CN" sz="1111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23377" y="908912"/>
            <a:ext cx="5536472" cy="0"/>
          </a:xfrm>
          <a:prstGeom prst="line">
            <a:avLst/>
          </a:prstGeom>
          <a:ln>
            <a:solidFill>
              <a:srgbClr val="EE8A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图片 6" descr="未标题-2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040" y="1683"/>
            <a:ext cx="12197043" cy="6856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62102" y="150988"/>
            <a:ext cx="8605655" cy="394306"/>
          </a:xfrm>
          <a:prstGeom prst="rect">
            <a:avLst/>
          </a:prstGeom>
        </p:spPr>
        <p:txBody>
          <a:bodyPr/>
          <a:lstStyle>
            <a:lvl1pPr algn="l">
              <a:defRPr sz="1905" baseline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方正兰亭粗黑_GBK" pitchFamily="2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8" name="文本占位符 17"/>
          <p:cNvSpPr>
            <a:spLocks noGrp="1"/>
          </p:cNvSpPr>
          <p:nvPr>
            <p:ph type="body" sz="quarter" idx="10"/>
          </p:nvPr>
        </p:nvSpPr>
        <p:spPr>
          <a:xfrm>
            <a:off x="605508" y="1341439"/>
            <a:ext cx="9927165" cy="1511300"/>
          </a:xfrm>
          <a:prstGeom prst="rect">
            <a:avLst/>
          </a:prstGeom>
        </p:spPr>
        <p:txBody>
          <a:bodyPr/>
          <a:lstStyle>
            <a:lvl1pPr marL="228614" indent="-228614">
              <a:lnSpc>
                <a:spcPct val="150000"/>
              </a:lnSpc>
              <a:spcBef>
                <a:spcPts val="0"/>
              </a:spcBef>
              <a:buClr>
                <a:srgbClr val="EE8A04"/>
              </a:buClr>
              <a:buFont typeface="Wingdings" pitchFamily="2" charset="2"/>
              <a:buChar char="l"/>
              <a:defRPr sz="1588" b="1">
                <a:solidFill>
                  <a:schemeClr val="tx1">
                    <a:lumMod val="50000"/>
                    <a:lumOff val="50000"/>
                  </a:schemeClr>
                </a:solidFill>
                <a:latin typeface="华文中宋" pitchFamily="2" charset="-122"/>
                <a:ea typeface="华文中宋" pitchFamily="2" charset="-122"/>
              </a:defRPr>
            </a:lvl1pPr>
            <a:lvl2pPr marL="362925" indent="0">
              <a:buNone/>
              <a:defRPr sz="1111">
                <a:latin typeface="微软雅黑" pitchFamily="34" charset="-122"/>
                <a:ea typeface="微软雅黑" pitchFamily="34" charset="-122"/>
              </a:defRPr>
            </a:lvl2pPr>
            <a:lvl3pPr marL="725851" indent="0">
              <a:buNone/>
              <a:defRPr sz="1270">
                <a:latin typeface="微软雅黑" pitchFamily="34" charset="-122"/>
                <a:ea typeface="微软雅黑" pitchFamily="34" charset="-122"/>
              </a:defRPr>
            </a:lvl3pPr>
            <a:lvl4pPr marL="1088776" indent="0">
              <a:buNone/>
              <a:defRPr sz="1111">
                <a:latin typeface="微软雅黑" pitchFamily="34" charset="-122"/>
                <a:ea typeface="微软雅黑" pitchFamily="34" charset="-122"/>
              </a:defRPr>
            </a:lvl4pPr>
            <a:lvl5pPr marL="1451701" indent="0">
              <a:buNone/>
              <a:defRPr sz="1111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1616313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2A5D0-FC50-4E21-8490-56943D610309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7401569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仅标题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57441" y="0"/>
            <a:ext cx="10135447" cy="821228"/>
          </a:xfrm>
          <a:prstGeom prst="rect">
            <a:avLst/>
          </a:prstGeom>
        </p:spPr>
        <p:txBody>
          <a:bodyPr lIns="85999" tIns="43000" rIns="85999" bIns="43000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11491384" y="6500814"/>
            <a:ext cx="499533" cy="344487"/>
          </a:xfrm>
          <a:prstGeom prst="rect">
            <a:avLst/>
          </a:prstGeom>
        </p:spPr>
        <p:txBody>
          <a:bodyPr lIns="85999" tIns="43000" rIns="85999" bIns="43000"/>
          <a:lstStyle>
            <a:lvl1pPr>
              <a:defRPr>
                <a:solidFill>
                  <a:prstClr val="black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E3A64032-7567-48FA-9FFD-33DEAC8BBD57}" type="slidenum">
              <a:rPr lang="zh-TW" altLang="en-GB"/>
              <a:pPr>
                <a:defRPr/>
              </a:pPr>
              <a:t>‹#›</a:t>
            </a:fld>
            <a:endParaRPr lang="en-GB" altLang="zh-TW"/>
          </a:p>
        </p:txBody>
      </p:sp>
      <p:sp>
        <p:nvSpPr>
          <p:cNvPr id="4" name="内容占位符 2"/>
          <p:cNvSpPr>
            <a:spLocks noGrp="1"/>
          </p:cNvSpPr>
          <p:nvPr>
            <p:ph idx="1"/>
          </p:nvPr>
        </p:nvSpPr>
        <p:spPr>
          <a:xfrm>
            <a:off x="503936" y="1066800"/>
            <a:ext cx="10972800" cy="5181600"/>
          </a:xfrm>
          <a:prstGeom prst="rect">
            <a:avLst/>
          </a:prstGeom>
        </p:spPr>
        <p:txBody>
          <a:bodyPr/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498579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advClick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609811" y="452655"/>
            <a:ext cx="10286724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824825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6168750"/>
            <a:ext cx="12192001" cy="1876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9459" y="1410166"/>
            <a:ext cx="5501251" cy="47159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zh-CN" altLang="en-US" dirty="0"/>
              <a:t>单击添加内容</a:t>
            </a:r>
            <a:endParaRPr lang="en-US" dirty="0"/>
          </a:p>
          <a:p>
            <a:pPr lvl="1"/>
            <a:r>
              <a:rPr lang="zh-CN" altLang="en-US" dirty="0"/>
              <a:t>第二层</a:t>
            </a:r>
            <a:endParaRPr lang="en-US" dirty="0"/>
          </a:p>
          <a:p>
            <a:pPr lvl="2"/>
            <a:r>
              <a:rPr lang="zh-CN" altLang="en-US" dirty="0"/>
              <a:t>第三层</a:t>
            </a:r>
            <a:endParaRPr lang="en-US" dirty="0"/>
          </a:p>
          <a:p>
            <a:pPr lvl="3"/>
            <a:r>
              <a:rPr lang="zh-CN" altLang="en-US" dirty="0"/>
              <a:t>第四层</a:t>
            </a:r>
            <a:endParaRPr lang="en-US" dirty="0"/>
          </a:p>
          <a:p>
            <a:pPr lvl="4"/>
            <a:r>
              <a:rPr lang="zh-CN" altLang="en-US" dirty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371291" y="1410166"/>
            <a:ext cx="5511376" cy="47159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zh-CN" altLang="en-US" dirty="0"/>
              <a:t>单击添加内容</a:t>
            </a:r>
            <a:endParaRPr lang="en-US" dirty="0"/>
          </a:p>
          <a:p>
            <a:pPr lvl="1"/>
            <a:r>
              <a:rPr lang="zh-CN" altLang="en-US" dirty="0"/>
              <a:t>第二层</a:t>
            </a:r>
            <a:endParaRPr lang="en-US" dirty="0"/>
          </a:p>
          <a:p>
            <a:pPr lvl="2"/>
            <a:r>
              <a:rPr lang="zh-CN" altLang="en-US" dirty="0"/>
              <a:t>第三层</a:t>
            </a:r>
            <a:endParaRPr lang="en-US" dirty="0"/>
          </a:p>
          <a:p>
            <a:pPr lvl="3"/>
            <a:r>
              <a:rPr lang="zh-CN" altLang="en-US" dirty="0"/>
              <a:t>第四层</a:t>
            </a:r>
            <a:endParaRPr lang="en-US" dirty="0"/>
          </a:p>
          <a:p>
            <a:pPr lvl="4"/>
            <a:r>
              <a:rPr lang="zh-CN" altLang="en-US" dirty="0"/>
              <a:t>第五层</a:t>
            </a:r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729" y="6504706"/>
            <a:ext cx="4925188" cy="341333"/>
          </a:xfrm>
          <a:prstGeom prst="rect">
            <a:avLst/>
          </a:prstGeom>
        </p:spPr>
        <p:txBody>
          <a:bodyPr/>
          <a:lstStyle>
            <a:lvl1pPr>
              <a:defRPr sz="900" b="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43339" y="908720"/>
            <a:ext cx="11809312" cy="0"/>
          </a:xfrm>
          <a:prstGeom prst="line">
            <a:avLst/>
          </a:prstGeom>
          <a:ln w="1270">
            <a:solidFill>
              <a:srgbClr val="004280"/>
            </a:solidFill>
          </a:ln>
          <a:effectLst>
            <a:outerShdw blurRad="50800" dist="38100" dir="2700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" descr="D:\VanceInfo\Marketing\Corporate Marketing\Branding\Pactera\pactera_logo_cs3_no_tm\pactera_logo_4c-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519139" y="344851"/>
            <a:ext cx="1376803" cy="29882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9594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正文页 两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矩形 12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1" y="1764000"/>
            <a:ext cx="4823886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16" hasCustomPrompt="1"/>
          </p:nvPr>
        </p:nvSpPr>
        <p:spPr>
          <a:xfrm>
            <a:off x="5894385" y="1764000"/>
            <a:ext cx="4963886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321" y="221582"/>
            <a:ext cx="11215980" cy="52305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321" y="1101725"/>
            <a:ext cx="1121598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pic>
        <p:nvPicPr>
          <p:cNvPr id="8" name="图片 1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 flipV="1">
            <a:off x="10110663" y="-1187761"/>
            <a:ext cx="911016" cy="328654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557" y="221582"/>
            <a:ext cx="130764" cy="523055"/>
          </a:xfrm>
          <a:prstGeom prst="rect">
            <a:avLst/>
          </a:prstGeom>
        </p:spPr>
      </p:pic>
      <p:sp>
        <p:nvSpPr>
          <p:cNvPr id="14" name="页脚占位符 13"/>
          <p:cNvSpPr>
            <a:spLocks noGrp="1"/>
          </p:cNvSpPr>
          <p:nvPr>
            <p:ph type="ftr" sz="quarter" idx="11"/>
          </p:nvPr>
        </p:nvSpPr>
        <p:spPr>
          <a:xfrm>
            <a:off x="139701" y="6411913"/>
            <a:ext cx="34925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Copyright@2016 Neusoft Corporation</a:t>
            </a:r>
            <a:endParaRPr lang="en-US" dirty="0"/>
          </a:p>
        </p:txBody>
      </p:sp>
      <p:sp>
        <p:nvSpPr>
          <p:cNvPr id="15" name="灯片编号占位符 14"/>
          <p:cNvSpPr>
            <a:spLocks noGrp="1"/>
          </p:cNvSpPr>
          <p:nvPr>
            <p:ph type="sldNum" sz="quarter" idx="12"/>
          </p:nvPr>
        </p:nvSpPr>
        <p:spPr>
          <a:xfrm>
            <a:off x="9194571" y="641191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C8AD8766-1B31-DD40-B907-AE9DE49463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56395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文本框 17"/>
          <p:cNvSpPr txBox="1"/>
          <p:nvPr userDrawn="1"/>
        </p:nvSpPr>
        <p:spPr>
          <a:xfrm>
            <a:off x="836421" y="6233666"/>
            <a:ext cx="39110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anose="05000000000000000000" pitchFamily="2" charset="2"/>
              <a:buNone/>
            </a:pPr>
            <a:r>
              <a:rPr lang="en-US" altLang="zh-CN" sz="1000" dirty="0">
                <a:solidFill>
                  <a:srgbClr val="323232"/>
                </a:solidFill>
                <a:latin typeface="Verdana" panose="020B0604030504040204" pitchFamily="34" charset="0"/>
              </a:rPr>
              <a:t>Copyright © 2020 Neusoft Corporation</a:t>
            </a:r>
          </a:p>
        </p:txBody>
      </p:sp>
      <p:sp>
        <p:nvSpPr>
          <p:cNvPr id="20" name="矩形 19"/>
          <p:cNvSpPr/>
          <p:nvPr userDrawn="1"/>
        </p:nvSpPr>
        <p:spPr>
          <a:xfrm>
            <a:off x="836421" y="6030540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文本占位符 126"/>
          <p:cNvSpPr>
            <a:spLocks noGrp="1"/>
          </p:cNvSpPr>
          <p:nvPr>
            <p:ph type="body" sz="quarter" idx="19" hasCustomPrompt="1"/>
          </p:nvPr>
        </p:nvSpPr>
        <p:spPr>
          <a:xfrm>
            <a:off x="855662" y="5469496"/>
            <a:ext cx="8580438" cy="339645"/>
          </a:xfrm>
          <a:prstGeom prst="rect">
            <a:avLst/>
          </a:prstGeom>
          <a:noFill/>
        </p:spPr>
        <p:txBody>
          <a:bodyPr wrap="square" tIns="468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演讲人                </a:t>
            </a:r>
            <a:r>
              <a:rPr lang="en-US" altLang="zh-CN" dirty="0"/>
              <a:t>16pt </a:t>
            </a:r>
            <a:r>
              <a:rPr lang="zh-CN" altLang="en-US" dirty="0"/>
              <a:t>微软雅黑</a:t>
            </a:r>
          </a:p>
        </p:txBody>
      </p:sp>
      <p:sp>
        <p:nvSpPr>
          <p:cNvPr id="25" name="文本占位符 5"/>
          <p:cNvSpPr>
            <a:spLocks noGrp="1"/>
          </p:cNvSpPr>
          <p:nvPr>
            <p:ph type="body" sz="quarter" idx="14" hasCustomPrompt="1"/>
          </p:nvPr>
        </p:nvSpPr>
        <p:spPr>
          <a:xfrm>
            <a:off x="855662" y="4144966"/>
            <a:ext cx="858043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6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6pt </a:t>
            </a:r>
            <a:r>
              <a:rPr lang="zh-CN" altLang="en-US" dirty="0"/>
              <a:t>加粗</a:t>
            </a:r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26" name="图片占位符 29"/>
          <p:cNvSpPr>
            <a:spLocks noGrp="1"/>
          </p:cNvSpPr>
          <p:nvPr>
            <p:ph type="pic" sz="quarter" idx="18"/>
          </p:nvPr>
        </p:nvSpPr>
        <p:spPr>
          <a:xfrm>
            <a:off x="897499" y="380894"/>
            <a:ext cx="6926400" cy="3441600"/>
          </a:xfrm>
          <a:custGeom>
            <a:avLst/>
            <a:gdLst>
              <a:gd name="connsiteX0" fmla="*/ 217180 w 6927595"/>
              <a:gd name="connsiteY0" fmla="*/ 301 h 3434513"/>
              <a:gd name="connsiteX1" fmla="*/ 3433404 w 6927595"/>
              <a:gd name="connsiteY1" fmla="*/ 301 h 3434513"/>
              <a:gd name="connsiteX2" fmla="*/ 3434400 w 6927595"/>
              <a:gd name="connsiteY2" fmla="*/ 1297 h 3434513"/>
              <a:gd name="connsiteX3" fmla="*/ 3434400 w 6927595"/>
              <a:gd name="connsiteY3" fmla="*/ 3434513 h 3434513"/>
              <a:gd name="connsiteX4" fmla="*/ 0 w 6927595"/>
              <a:gd name="connsiteY4" fmla="*/ 3434513 h 3434513"/>
              <a:gd name="connsiteX5" fmla="*/ 0 w 6927595"/>
              <a:gd name="connsiteY5" fmla="*/ 217481 h 3434513"/>
              <a:gd name="connsiteX6" fmla="*/ 217180 w 6927595"/>
              <a:gd name="connsiteY6" fmla="*/ 301 h 3434513"/>
              <a:gd name="connsiteX7" fmla="*/ 3493195 w 6927595"/>
              <a:gd name="connsiteY7" fmla="*/ 0 h 3434513"/>
              <a:gd name="connsiteX8" fmla="*/ 6927595 w 6927595"/>
              <a:gd name="connsiteY8" fmla="*/ 0 h 3434513"/>
              <a:gd name="connsiteX9" fmla="*/ 6927595 w 6927595"/>
              <a:gd name="connsiteY9" fmla="*/ 3433762 h 3434513"/>
              <a:gd name="connsiteX10" fmla="*/ 3493195 w 6927595"/>
              <a:gd name="connsiteY10" fmla="*/ 3433762 h 3434513"/>
              <a:gd name="connsiteX0" fmla="*/ 217180 w 6927595"/>
              <a:gd name="connsiteY0" fmla="*/ 301 h 3434513"/>
              <a:gd name="connsiteX1" fmla="*/ 3433404 w 6927595"/>
              <a:gd name="connsiteY1" fmla="*/ 301 h 3434513"/>
              <a:gd name="connsiteX2" fmla="*/ 3434400 w 6927595"/>
              <a:gd name="connsiteY2" fmla="*/ 1297 h 3434513"/>
              <a:gd name="connsiteX3" fmla="*/ 3434400 w 6927595"/>
              <a:gd name="connsiteY3" fmla="*/ 3434513 h 3434513"/>
              <a:gd name="connsiteX4" fmla="*/ 0 w 6927595"/>
              <a:gd name="connsiteY4" fmla="*/ 3434513 h 3434513"/>
              <a:gd name="connsiteX5" fmla="*/ 0 w 6927595"/>
              <a:gd name="connsiteY5" fmla="*/ 217481 h 3434513"/>
              <a:gd name="connsiteX6" fmla="*/ 217180 w 6927595"/>
              <a:gd name="connsiteY6" fmla="*/ 301 h 3434513"/>
              <a:gd name="connsiteX7" fmla="*/ 3496373 w 6927595"/>
              <a:gd name="connsiteY7" fmla="*/ 0 h 3434513"/>
              <a:gd name="connsiteX8" fmla="*/ 6927595 w 6927595"/>
              <a:gd name="connsiteY8" fmla="*/ 0 h 3434513"/>
              <a:gd name="connsiteX9" fmla="*/ 6927595 w 6927595"/>
              <a:gd name="connsiteY9" fmla="*/ 3433762 h 3434513"/>
              <a:gd name="connsiteX10" fmla="*/ 3493195 w 6927595"/>
              <a:gd name="connsiteY10" fmla="*/ 3433762 h 3434513"/>
              <a:gd name="connsiteX11" fmla="*/ 3496373 w 6927595"/>
              <a:gd name="connsiteY11" fmla="*/ 0 h 3434513"/>
              <a:gd name="connsiteX0" fmla="*/ 217180 w 6927595"/>
              <a:gd name="connsiteY0" fmla="*/ 301 h 3434513"/>
              <a:gd name="connsiteX1" fmla="*/ 3433404 w 6927595"/>
              <a:gd name="connsiteY1" fmla="*/ 301 h 3434513"/>
              <a:gd name="connsiteX2" fmla="*/ 3434400 w 6927595"/>
              <a:gd name="connsiteY2" fmla="*/ 1297 h 3434513"/>
              <a:gd name="connsiteX3" fmla="*/ 3434400 w 6927595"/>
              <a:gd name="connsiteY3" fmla="*/ 3434513 h 3434513"/>
              <a:gd name="connsiteX4" fmla="*/ 0 w 6927595"/>
              <a:gd name="connsiteY4" fmla="*/ 3434513 h 3434513"/>
              <a:gd name="connsiteX5" fmla="*/ 0 w 6927595"/>
              <a:gd name="connsiteY5" fmla="*/ 217481 h 3434513"/>
              <a:gd name="connsiteX6" fmla="*/ 217180 w 6927595"/>
              <a:gd name="connsiteY6" fmla="*/ 301 h 3434513"/>
              <a:gd name="connsiteX7" fmla="*/ 3496373 w 6927595"/>
              <a:gd name="connsiteY7" fmla="*/ 0 h 3434513"/>
              <a:gd name="connsiteX8" fmla="*/ 6927595 w 6927595"/>
              <a:gd name="connsiteY8" fmla="*/ 0 h 3434513"/>
              <a:gd name="connsiteX9" fmla="*/ 6927595 w 6927595"/>
              <a:gd name="connsiteY9" fmla="*/ 3433762 h 3434513"/>
              <a:gd name="connsiteX10" fmla="*/ 3505908 w 6927595"/>
              <a:gd name="connsiteY10" fmla="*/ 3433762 h 3434513"/>
              <a:gd name="connsiteX11" fmla="*/ 3496373 w 6927595"/>
              <a:gd name="connsiteY11" fmla="*/ 0 h 3434513"/>
              <a:gd name="connsiteX0" fmla="*/ 217180 w 6927595"/>
              <a:gd name="connsiteY0" fmla="*/ 301 h 3434513"/>
              <a:gd name="connsiteX1" fmla="*/ 3433404 w 6927595"/>
              <a:gd name="connsiteY1" fmla="*/ 301 h 3434513"/>
              <a:gd name="connsiteX2" fmla="*/ 3434400 w 6927595"/>
              <a:gd name="connsiteY2" fmla="*/ 1297 h 3434513"/>
              <a:gd name="connsiteX3" fmla="*/ 3434400 w 6927595"/>
              <a:gd name="connsiteY3" fmla="*/ 3434513 h 3434513"/>
              <a:gd name="connsiteX4" fmla="*/ 0 w 6927595"/>
              <a:gd name="connsiteY4" fmla="*/ 3434513 h 3434513"/>
              <a:gd name="connsiteX5" fmla="*/ 0 w 6927595"/>
              <a:gd name="connsiteY5" fmla="*/ 217481 h 3434513"/>
              <a:gd name="connsiteX6" fmla="*/ 217180 w 6927595"/>
              <a:gd name="connsiteY6" fmla="*/ 301 h 3434513"/>
              <a:gd name="connsiteX7" fmla="*/ 3496373 w 6927595"/>
              <a:gd name="connsiteY7" fmla="*/ 0 h 3434513"/>
              <a:gd name="connsiteX8" fmla="*/ 6927595 w 6927595"/>
              <a:gd name="connsiteY8" fmla="*/ 0 h 3434513"/>
              <a:gd name="connsiteX9" fmla="*/ 6927595 w 6927595"/>
              <a:gd name="connsiteY9" fmla="*/ 3433762 h 3434513"/>
              <a:gd name="connsiteX10" fmla="*/ 3503524 w 6927595"/>
              <a:gd name="connsiteY10" fmla="*/ 3433762 h 3434513"/>
              <a:gd name="connsiteX11" fmla="*/ 3496373 w 6927595"/>
              <a:gd name="connsiteY11" fmla="*/ 0 h 3434513"/>
              <a:gd name="connsiteX0" fmla="*/ 217180 w 6927595"/>
              <a:gd name="connsiteY0" fmla="*/ 301 h 3434513"/>
              <a:gd name="connsiteX1" fmla="*/ 3433404 w 6927595"/>
              <a:gd name="connsiteY1" fmla="*/ 301 h 3434513"/>
              <a:gd name="connsiteX2" fmla="*/ 3434400 w 6927595"/>
              <a:gd name="connsiteY2" fmla="*/ 1297 h 3434513"/>
              <a:gd name="connsiteX3" fmla="*/ 3434400 w 6927595"/>
              <a:gd name="connsiteY3" fmla="*/ 3434513 h 3434513"/>
              <a:gd name="connsiteX4" fmla="*/ 0 w 6927595"/>
              <a:gd name="connsiteY4" fmla="*/ 3434513 h 3434513"/>
              <a:gd name="connsiteX5" fmla="*/ 0 w 6927595"/>
              <a:gd name="connsiteY5" fmla="*/ 217481 h 3434513"/>
              <a:gd name="connsiteX6" fmla="*/ 217180 w 6927595"/>
              <a:gd name="connsiteY6" fmla="*/ 301 h 3434513"/>
              <a:gd name="connsiteX7" fmla="*/ 3496373 w 6927595"/>
              <a:gd name="connsiteY7" fmla="*/ 0 h 3434513"/>
              <a:gd name="connsiteX8" fmla="*/ 6927595 w 6927595"/>
              <a:gd name="connsiteY8" fmla="*/ 0 h 3434513"/>
              <a:gd name="connsiteX9" fmla="*/ 6927595 w 6927595"/>
              <a:gd name="connsiteY9" fmla="*/ 3433762 h 3434513"/>
              <a:gd name="connsiteX10" fmla="*/ 3498758 w 6927595"/>
              <a:gd name="connsiteY10" fmla="*/ 3433762 h 3434513"/>
              <a:gd name="connsiteX11" fmla="*/ 3496373 w 6927595"/>
              <a:gd name="connsiteY11" fmla="*/ 0 h 3434513"/>
              <a:gd name="connsiteX0" fmla="*/ 217180 w 6927595"/>
              <a:gd name="connsiteY0" fmla="*/ 301 h 3434513"/>
              <a:gd name="connsiteX1" fmla="*/ 3433404 w 6927595"/>
              <a:gd name="connsiteY1" fmla="*/ 301 h 3434513"/>
              <a:gd name="connsiteX2" fmla="*/ 3434400 w 6927595"/>
              <a:gd name="connsiteY2" fmla="*/ 1297 h 3434513"/>
              <a:gd name="connsiteX3" fmla="*/ 3434400 w 6927595"/>
              <a:gd name="connsiteY3" fmla="*/ 3434513 h 3434513"/>
              <a:gd name="connsiteX4" fmla="*/ 0 w 6927595"/>
              <a:gd name="connsiteY4" fmla="*/ 3434513 h 3434513"/>
              <a:gd name="connsiteX5" fmla="*/ 0 w 6927595"/>
              <a:gd name="connsiteY5" fmla="*/ 217481 h 3434513"/>
              <a:gd name="connsiteX6" fmla="*/ 217180 w 6927595"/>
              <a:gd name="connsiteY6" fmla="*/ 301 h 3434513"/>
              <a:gd name="connsiteX7" fmla="*/ 3498758 w 6927595"/>
              <a:gd name="connsiteY7" fmla="*/ 0 h 3434513"/>
              <a:gd name="connsiteX8" fmla="*/ 6927595 w 6927595"/>
              <a:gd name="connsiteY8" fmla="*/ 0 h 3434513"/>
              <a:gd name="connsiteX9" fmla="*/ 6927595 w 6927595"/>
              <a:gd name="connsiteY9" fmla="*/ 3433762 h 3434513"/>
              <a:gd name="connsiteX10" fmla="*/ 3498758 w 6927595"/>
              <a:gd name="connsiteY10" fmla="*/ 3433762 h 3434513"/>
              <a:gd name="connsiteX11" fmla="*/ 3498758 w 6927595"/>
              <a:gd name="connsiteY11" fmla="*/ 0 h 3434513"/>
              <a:gd name="connsiteX0" fmla="*/ 217180 w 6927595"/>
              <a:gd name="connsiteY0" fmla="*/ 1369 h 3435581"/>
              <a:gd name="connsiteX1" fmla="*/ 3433404 w 6927595"/>
              <a:gd name="connsiteY1" fmla="*/ 1369 h 3435581"/>
              <a:gd name="connsiteX2" fmla="*/ 3439167 w 6927595"/>
              <a:gd name="connsiteY2" fmla="*/ 0 h 3435581"/>
              <a:gd name="connsiteX3" fmla="*/ 3434400 w 6927595"/>
              <a:gd name="connsiteY3" fmla="*/ 3435581 h 3435581"/>
              <a:gd name="connsiteX4" fmla="*/ 0 w 6927595"/>
              <a:gd name="connsiteY4" fmla="*/ 3435581 h 3435581"/>
              <a:gd name="connsiteX5" fmla="*/ 0 w 6927595"/>
              <a:gd name="connsiteY5" fmla="*/ 218549 h 3435581"/>
              <a:gd name="connsiteX6" fmla="*/ 217180 w 6927595"/>
              <a:gd name="connsiteY6" fmla="*/ 1369 h 3435581"/>
              <a:gd name="connsiteX7" fmla="*/ 3498758 w 6927595"/>
              <a:gd name="connsiteY7" fmla="*/ 1068 h 3435581"/>
              <a:gd name="connsiteX8" fmla="*/ 6927595 w 6927595"/>
              <a:gd name="connsiteY8" fmla="*/ 1068 h 3435581"/>
              <a:gd name="connsiteX9" fmla="*/ 6927595 w 6927595"/>
              <a:gd name="connsiteY9" fmla="*/ 3434830 h 3435581"/>
              <a:gd name="connsiteX10" fmla="*/ 3498758 w 6927595"/>
              <a:gd name="connsiteY10" fmla="*/ 3434830 h 3435581"/>
              <a:gd name="connsiteX11" fmla="*/ 3498758 w 6927595"/>
              <a:gd name="connsiteY11" fmla="*/ 1068 h 3435581"/>
              <a:gd name="connsiteX0" fmla="*/ 217180 w 6927595"/>
              <a:gd name="connsiteY0" fmla="*/ 1369 h 3435581"/>
              <a:gd name="connsiteX1" fmla="*/ 3433404 w 6927595"/>
              <a:gd name="connsiteY1" fmla="*/ 1369 h 3435581"/>
              <a:gd name="connsiteX2" fmla="*/ 3439167 w 6927595"/>
              <a:gd name="connsiteY2" fmla="*/ 0 h 3435581"/>
              <a:gd name="connsiteX3" fmla="*/ 3439167 w 6927595"/>
              <a:gd name="connsiteY3" fmla="*/ 3435581 h 3435581"/>
              <a:gd name="connsiteX4" fmla="*/ 0 w 6927595"/>
              <a:gd name="connsiteY4" fmla="*/ 3435581 h 3435581"/>
              <a:gd name="connsiteX5" fmla="*/ 0 w 6927595"/>
              <a:gd name="connsiteY5" fmla="*/ 218549 h 3435581"/>
              <a:gd name="connsiteX6" fmla="*/ 217180 w 6927595"/>
              <a:gd name="connsiteY6" fmla="*/ 1369 h 3435581"/>
              <a:gd name="connsiteX7" fmla="*/ 3498758 w 6927595"/>
              <a:gd name="connsiteY7" fmla="*/ 1068 h 3435581"/>
              <a:gd name="connsiteX8" fmla="*/ 6927595 w 6927595"/>
              <a:gd name="connsiteY8" fmla="*/ 1068 h 3435581"/>
              <a:gd name="connsiteX9" fmla="*/ 6927595 w 6927595"/>
              <a:gd name="connsiteY9" fmla="*/ 3434830 h 3435581"/>
              <a:gd name="connsiteX10" fmla="*/ 3498758 w 6927595"/>
              <a:gd name="connsiteY10" fmla="*/ 3434830 h 3435581"/>
              <a:gd name="connsiteX11" fmla="*/ 3498758 w 6927595"/>
              <a:gd name="connsiteY11" fmla="*/ 1068 h 3435581"/>
              <a:gd name="connsiteX0" fmla="*/ 217180 w 6927595"/>
              <a:gd name="connsiteY0" fmla="*/ 1369 h 3435581"/>
              <a:gd name="connsiteX1" fmla="*/ 3433404 w 6927595"/>
              <a:gd name="connsiteY1" fmla="*/ 1369 h 3435581"/>
              <a:gd name="connsiteX2" fmla="*/ 3441550 w 6927595"/>
              <a:gd name="connsiteY2" fmla="*/ 0 h 3435581"/>
              <a:gd name="connsiteX3" fmla="*/ 3439167 w 6927595"/>
              <a:gd name="connsiteY3" fmla="*/ 3435581 h 3435581"/>
              <a:gd name="connsiteX4" fmla="*/ 0 w 6927595"/>
              <a:gd name="connsiteY4" fmla="*/ 3435581 h 3435581"/>
              <a:gd name="connsiteX5" fmla="*/ 0 w 6927595"/>
              <a:gd name="connsiteY5" fmla="*/ 218549 h 3435581"/>
              <a:gd name="connsiteX6" fmla="*/ 217180 w 6927595"/>
              <a:gd name="connsiteY6" fmla="*/ 1369 h 3435581"/>
              <a:gd name="connsiteX7" fmla="*/ 3498758 w 6927595"/>
              <a:gd name="connsiteY7" fmla="*/ 1068 h 3435581"/>
              <a:gd name="connsiteX8" fmla="*/ 6927595 w 6927595"/>
              <a:gd name="connsiteY8" fmla="*/ 1068 h 3435581"/>
              <a:gd name="connsiteX9" fmla="*/ 6927595 w 6927595"/>
              <a:gd name="connsiteY9" fmla="*/ 3434830 h 3435581"/>
              <a:gd name="connsiteX10" fmla="*/ 3498758 w 6927595"/>
              <a:gd name="connsiteY10" fmla="*/ 3434830 h 3435581"/>
              <a:gd name="connsiteX11" fmla="*/ 3498758 w 6927595"/>
              <a:gd name="connsiteY11" fmla="*/ 1068 h 3435581"/>
              <a:gd name="connsiteX0" fmla="*/ 217180 w 6927595"/>
              <a:gd name="connsiteY0" fmla="*/ 1369 h 3435581"/>
              <a:gd name="connsiteX1" fmla="*/ 3433404 w 6927595"/>
              <a:gd name="connsiteY1" fmla="*/ 1369 h 3435581"/>
              <a:gd name="connsiteX2" fmla="*/ 3441550 w 6927595"/>
              <a:gd name="connsiteY2" fmla="*/ 0 h 3435581"/>
              <a:gd name="connsiteX3" fmla="*/ 3441549 w 6927595"/>
              <a:gd name="connsiteY3" fmla="*/ 3435581 h 3435581"/>
              <a:gd name="connsiteX4" fmla="*/ 0 w 6927595"/>
              <a:gd name="connsiteY4" fmla="*/ 3435581 h 3435581"/>
              <a:gd name="connsiteX5" fmla="*/ 0 w 6927595"/>
              <a:gd name="connsiteY5" fmla="*/ 218549 h 3435581"/>
              <a:gd name="connsiteX6" fmla="*/ 217180 w 6927595"/>
              <a:gd name="connsiteY6" fmla="*/ 1369 h 3435581"/>
              <a:gd name="connsiteX7" fmla="*/ 3498758 w 6927595"/>
              <a:gd name="connsiteY7" fmla="*/ 1068 h 3435581"/>
              <a:gd name="connsiteX8" fmla="*/ 6927595 w 6927595"/>
              <a:gd name="connsiteY8" fmla="*/ 1068 h 3435581"/>
              <a:gd name="connsiteX9" fmla="*/ 6927595 w 6927595"/>
              <a:gd name="connsiteY9" fmla="*/ 3434830 h 3435581"/>
              <a:gd name="connsiteX10" fmla="*/ 3498758 w 6927595"/>
              <a:gd name="connsiteY10" fmla="*/ 3434830 h 3435581"/>
              <a:gd name="connsiteX11" fmla="*/ 3498758 w 6927595"/>
              <a:gd name="connsiteY11" fmla="*/ 1068 h 3435581"/>
              <a:gd name="connsiteX0" fmla="*/ 217180 w 6927595"/>
              <a:gd name="connsiteY0" fmla="*/ 1369 h 3435581"/>
              <a:gd name="connsiteX1" fmla="*/ 3433404 w 6927595"/>
              <a:gd name="connsiteY1" fmla="*/ 1369 h 3435581"/>
              <a:gd name="connsiteX2" fmla="*/ 3441550 w 6927595"/>
              <a:gd name="connsiteY2" fmla="*/ 0 h 3435581"/>
              <a:gd name="connsiteX3" fmla="*/ 3441549 w 6927595"/>
              <a:gd name="connsiteY3" fmla="*/ 3435581 h 3435581"/>
              <a:gd name="connsiteX4" fmla="*/ 0 w 6927595"/>
              <a:gd name="connsiteY4" fmla="*/ 3435581 h 3435581"/>
              <a:gd name="connsiteX5" fmla="*/ 0 w 6927595"/>
              <a:gd name="connsiteY5" fmla="*/ 218549 h 3435581"/>
              <a:gd name="connsiteX6" fmla="*/ 217180 w 6927595"/>
              <a:gd name="connsiteY6" fmla="*/ 1369 h 3435581"/>
              <a:gd name="connsiteX7" fmla="*/ 3503521 w 6927595"/>
              <a:gd name="connsiteY7" fmla="*/ 1068 h 3435581"/>
              <a:gd name="connsiteX8" fmla="*/ 6927595 w 6927595"/>
              <a:gd name="connsiteY8" fmla="*/ 1068 h 3435581"/>
              <a:gd name="connsiteX9" fmla="*/ 6927595 w 6927595"/>
              <a:gd name="connsiteY9" fmla="*/ 3434830 h 3435581"/>
              <a:gd name="connsiteX10" fmla="*/ 3498758 w 6927595"/>
              <a:gd name="connsiteY10" fmla="*/ 3434830 h 3435581"/>
              <a:gd name="connsiteX11" fmla="*/ 3503521 w 6927595"/>
              <a:gd name="connsiteY11" fmla="*/ 1068 h 3435581"/>
              <a:gd name="connsiteX0" fmla="*/ 217180 w 6927595"/>
              <a:gd name="connsiteY0" fmla="*/ 1369 h 3435581"/>
              <a:gd name="connsiteX1" fmla="*/ 3433404 w 6927595"/>
              <a:gd name="connsiteY1" fmla="*/ 1369 h 3435581"/>
              <a:gd name="connsiteX2" fmla="*/ 3441550 w 6927595"/>
              <a:gd name="connsiteY2" fmla="*/ 0 h 3435581"/>
              <a:gd name="connsiteX3" fmla="*/ 3441549 w 6927595"/>
              <a:gd name="connsiteY3" fmla="*/ 3435581 h 3435581"/>
              <a:gd name="connsiteX4" fmla="*/ 0 w 6927595"/>
              <a:gd name="connsiteY4" fmla="*/ 3435581 h 3435581"/>
              <a:gd name="connsiteX5" fmla="*/ 0 w 6927595"/>
              <a:gd name="connsiteY5" fmla="*/ 218549 h 3435581"/>
              <a:gd name="connsiteX6" fmla="*/ 217180 w 6927595"/>
              <a:gd name="connsiteY6" fmla="*/ 1369 h 3435581"/>
              <a:gd name="connsiteX7" fmla="*/ 3503521 w 6927595"/>
              <a:gd name="connsiteY7" fmla="*/ 1068 h 3435581"/>
              <a:gd name="connsiteX8" fmla="*/ 6927595 w 6927595"/>
              <a:gd name="connsiteY8" fmla="*/ 1068 h 3435581"/>
              <a:gd name="connsiteX9" fmla="*/ 6927595 w 6927595"/>
              <a:gd name="connsiteY9" fmla="*/ 3434830 h 3435581"/>
              <a:gd name="connsiteX10" fmla="*/ 3503522 w 6927595"/>
              <a:gd name="connsiteY10" fmla="*/ 3434830 h 3435581"/>
              <a:gd name="connsiteX11" fmla="*/ 3503521 w 6927595"/>
              <a:gd name="connsiteY11" fmla="*/ 1068 h 3435581"/>
              <a:gd name="connsiteX0" fmla="*/ 217180 w 6927595"/>
              <a:gd name="connsiteY0" fmla="*/ 1369 h 3435581"/>
              <a:gd name="connsiteX1" fmla="*/ 3433404 w 6927595"/>
              <a:gd name="connsiteY1" fmla="*/ 1369 h 3435581"/>
              <a:gd name="connsiteX2" fmla="*/ 3441550 w 6927595"/>
              <a:gd name="connsiteY2" fmla="*/ 0 h 3435581"/>
              <a:gd name="connsiteX3" fmla="*/ 3441549 w 6927595"/>
              <a:gd name="connsiteY3" fmla="*/ 3435581 h 3435581"/>
              <a:gd name="connsiteX4" fmla="*/ 0 w 6927595"/>
              <a:gd name="connsiteY4" fmla="*/ 3435581 h 3435581"/>
              <a:gd name="connsiteX5" fmla="*/ 0 w 6927595"/>
              <a:gd name="connsiteY5" fmla="*/ 218549 h 3435581"/>
              <a:gd name="connsiteX6" fmla="*/ 217180 w 6927595"/>
              <a:gd name="connsiteY6" fmla="*/ 1369 h 3435581"/>
              <a:gd name="connsiteX7" fmla="*/ 3503521 w 6927595"/>
              <a:gd name="connsiteY7" fmla="*/ 1068 h 3435581"/>
              <a:gd name="connsiteX8" fmla="*/ 6927595 w 6927595"/>
              <a:gd name="connsiteY8" fmla="*/ 1068 h 3435581"/>
              <a:gd name="connsiteX9" fmla="*/ 6927595 w 6927595"/>
              <a:gd name="connsiteY9" fmla="*/ 3434830 h 3435581"/>
              <a:gd name="connsiteX10" fmla="*/ 3501140 w 6927595"/>
              <a:gd name="connsiteY10" fmla="*/ 3434830 h 3435581"/>
              <a:gd name="connsiteX11" fmla="*/ 3503521 w 6927595"/>
              <a:gd name="connsiteY11" fmla="*/ 1068 h 3435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27595" h="3435581">
                <a:moveTo>
                  <a:pt x="217180" y="1369"/>
                </a:moveTo>
                <a:lnTo>
                  <a:pt x="3433404" y="1369"/>
                </a:lnTo>
                <a:lnTo>
                  <a:pt x="3441550" y="0"/>
                </a:lnTo>
                <a:cubicBezTo>
                  <a:pt x="3440756" y="1145194"/>
                  <a:pt x="3442343" y="2290387"/>
                  <a:pt x="3441549" y="3435581"/>
                </a:cubicBezTo>
                <a:lnTo>
                  <a:pt x="0" y="3435581"/>
                </a:lnTo>
                <a:lnTo>
                  <a:pt x="0" y="218549"/>
                </a:lnTo>
                <a:cubicBezTo>
                  <a:pt x="0" y="98604"/>
                  <a:pt x="97235" y="1369"/>
                  <a:pt x="217180" y="1369"/>
                </a:cubicBezTo>
                <a:close/>
                <a:moveTo>
                  <a:pt x="3503521" y="1068"/>
                </a:moveTo>
                <a:lnTo>
                  <a:pt x="6927595" y="1068"/>
                </a:lnTo>
                <a:lnTo>
                  <a:pt x="6927595" y="3434830"/>
                </a:lnTo>
                <a:lnTo>
                  <a:pt x="3501140" y="3434830"/>
                </a:lnTo>
                <a:cubicBezTo>
                  <a:pt x="3502728" y="2290243"/>
                  <a:pt x="3501933" y="1145655"/>
                  <a:pt x="3503521" y="1068"/>
                </a:cubicBezTo>
                <a:close/>
              </a:path>
            </a:pathLst>
          </a:custGeom>
        </p:spPr>
        <p:txBody>
          <a:bodyPr rtlCol="0">
            <a:noAutofit/>
          </a:bodyPr>
          <a:lstStyle>
            <a:lvl1pPr marL="0" indent="0"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7" name="任意多边形 26"/>
          <p:cNvSpPr/>
          <p:nvPr userDrawn="1"/>
        </p:nvSpPr>
        <p:spPr>
          <a:xfrm rot="10800000" flipH="1" flipV="1">
            <a:off x="7888622" y="380895"/>
            <a:ext cx="3443006" cy="3440888"/>
          </a:xfrm>
          <a:custGeom>
            <a:avLst/>
            <a:gdLst>
              <a:gd name="connsiteX0" fmla="*/ 0 w 2515238"/>
              <a:gd name="connsiteY0" fmla="*/ 0 h 2616731"/>
              <a:gd name="connsiteX1" fmla="*/ 2241386 w 2515238"/>
              <a:gd name="connsiteY1" fmla="*/ 0 h 2616731"/>
              <a:gd name="connsiteX2" fmla="*/ 2506771 w 2515238"/>
              <a:gd name="connsiteY2" fmla="*/ 333120 h 2616731"/>
              <a:gd name="connsiteX3" fmla="*/ 2515238 w 2515238"/>
              <a:gd name="connsiteY3" fmla="*/ 2616731 h 2616731"/>
              <a:gd name="connsiteX4" fmla="*/ 0 w 2515238"/>
              <a:gd name="connsiteY4" fmla="*/ 2616731 h 2616731"/>
              <a:gd name="connsiteX5" fmla="*/ 0 w 2515238"/>
              <a:gd name="connsiteY5" fmla="*/ 0 h 2616731"/>
              <a:gd name="connsiteX0" fmla="*/ 0 w 2515238"/>
              <a:gd name="connsiteY0" fmla="*/ 0 h 2616731"/>
              <a:gd name="connsiteX1" fmla="*/ 2241386 w 2515238"/>
              <a:gd name="connsiteY1" fmla="*/ 0 h 2616731"/>
              <a:gd name="connsiteX2" fmla="*/ 2509092 w 2515238"/>
              <a:gd name="connsiteY2" fmla="*/ 333120 h 2616731"/>
              <a:gd name="connsiteX3" fmla="*/ 2515238 w 2515238"/>
              <a:gd name="connsiteY3" fmla="*/ 2616731 h 2616731"/>
              <a:gd name="connsiteX4" fmla="*/ 0 w 2515238"/>
              <a:gd name="connsiteY4" fmla="*/ 2616731 h 2616731"/>
              <a:gd name="connsiteX5" fmla="*/ 0 w 2515238"/>
              <a:gd name="connsiteY5" fmla="*/ 0 h 2616731"/>
              <a:gd name="connsiteX0" fmla="*/ 0 w 2515238"/>
              <a:gd name="connsiteY0" fmla="*/ 0 h 2616731"/>
              <a:gd name="connsiteX1" fmla="*/ 2241386 w 2515238"/>
              <a:gd name="connsiteY1" fmla="*/ 0 h 2616731"/>
              <a:gd name="connsiteX2" fmla="*/ 2509092 w 2515238"/>
              <a:gd name="connsiteY2" fmla="*/ 333120 h 2616731"/>
              <a:gd name="connsiteX3" fmla="*/ 2515238 w 2515238"/>
              <a:gd name="connsiteY3" fmla="*/ 2616731 h 2616731"/>
              <a:gd name="connsiteX4" fmla="*/ 0 w 2515238"/>
              <a:gd name="connsiteY4" fmla="*/ 2616731 h 2616731"/>
              <a:gd name="connsiteX5" fmla="*/ 0 w 2515238"/>
              <a:gd name="connsiteY5" fmla="*/ 0 h 2616731"/>
              <a:gd name="connsiteX0" fmla="*/ 0 w 2518941"/>
              <a:gd name="connsiteY0" fmla="*/ 0 h 2616731"/>
              <a:gd name="connsiteX1" fmla="*/ 2241386 w 2518941"/>
              <a:gd name="connsiteY1" fmla="*/ 0 h 2616731"/>
              <a:gd name="connsiteX2" fmla="*/ 2518375 w 2518941"/>
              <a:gd name="connsiteY2" fmla="*/ 333120 h 2616731"/>
              <a:gd name="connsiteX3" fmla="*/ 2515238 w 2518941"/>
              <a:gd name="connsiteY3" fmla="*/ 2616731 h 2616731"/>
              <a:gd name="connsiteX4" fmla="*/ 0 w 2518941"/>
              <a:gd name="connsiteY4" fmla="*/ 2616731 h 2616731"/>
              <a:gd name="connsiteX5" fmla="*/ 0 w 2518941"/>
              <a:gd name="connsiteY5" fmla="*/ 0 h 2616731"/>
              <a:gd name="connsiteX0" fmla="*/ 0 w 2515238"/>
              <a:gd name="connsiteY0" fmla="*/ 0 h 2616731"/>
              <a:gd name="connsiteX1" fmla="*/ 2241386 w 2515238"/>
              <a:gd name="connsiteY1" fmla="*/ 0 h 2616731"/>
              <a:gd name="connsiteX2" fmla="*/ 2511413 w 2515238"/>
              <a:gd name="connsiteY2" fmla="*/ 333120 h 2616731"/>
              <a:gd name="connsiteX3" fmla="*/ 2515238 w 2515238"/>
              <a:gd name="connsiteY3" fmla="*/ 2616731 h 2616731"/>
              <a:gd name="connsiteX4" fmla="*/ 0 w 2515238"/>
              <a:gd name="connsiteY4" fmla="*/ 2616731 h 2616731"/>
              <a:gd name="connsiteX5" fmla="*/ 0 w 2515238"/>
              <a:gd name="connsiteY5" fmla="*/ 0 h 2616731"/>
              <a:gd name="connsiteX0" fmla="*/ 0 w 2515238"/>
              <a:gd name="connsiteY0" fmla="*/ 0 h 2616731"/>
              <a:gd name="connsiteX1" fmla="*/ 2241386 w 2515238"/>
              <a:gd name="connsiteY1" fmla="*/ 0 h 2616731"/>
              <a:gd name="connsiteX2" fmla="*/ 2513734 w 2515238"/>
              <a:gd name="connsiteY2" fmla="*/ 333120 h 2616731"/>
              <a:gd name="connsiteX3" fmla="*/ 2515238 w 2515238"/>
              <a:gd name="connsiteY3" fmla="*/ 2616731 h 2616731"/>
              <a:gd name="connsiteX4" fmla="*/ 0 w 2515238"/>
              <a:gd name="connsiteY4" fmla="*/ 2616731 h 2616731"/>
              <a:gd name="connsiteX5" fmla="*/ 0 w 2515238"/>
              <a:gd name="connsiteY5" fmla="*/ 0 h 2616731"/>
              <a:gd name="connsiteX0" fmla="*/ 0 w 2521160"/>
              <a:gd name="connsiteY0" fmla="*/ 0 h 2616731"/>
              <a:gd name="connsiteX1" fmla="*/ 2241386 w 2521160"/>
              <a:gd name="connsiteY1" fmla="*/ 0 h 2616731"/>
              <a:gd name="connsiteX2" fmla="*/ 2520697 w 2521160"/>
              <a:gd name="connsiteY2" fmla="*/ 333120 h 2616731"/>
              <a:gd name="connsiteX3" fmla="*/ 2515238 w 2521160"/>
              <a:gd name="connsiteY3" fmla="*/ 2616731 h 2616731"/>
              <a:gd name="connsiteX4" fmla="*/ 0 w 2521160"/>
              <a:gd name="connsiteY4" fmla="*/ 2616731 h 2616731"/>
              <a:gd name="connsiteX5" fmla="*/ 0 w 2521160"/>
              <a:gd name="connsiteY5" fmla="*/ 0 h 2616731"/>
              <a:gd name="connsiteX0" fmla="*/ 0 w 2518942"/>
              <a:gd name="connsiteY0" fmla="*/ 0 h 2616731"/>
              <a:gd name="connsiteX1" fmla="*/ 2241386 w 2518942"/>
              <a:gd name="connsiteY1" fmla="*/ 0 h 2616731"/>
              <a:gd name="connsiteX2" fmla="*/ 2518376 w 2518942"/>
              <a:gd name="connsiteY2" fmla="*/ 333120 h 2616731"/>
              <a:gd name="connsiteX3" fmla="*/ 2515238 w 2518942"/>
              <a:gd name="connsiteY3" fmla="*/ 2616731 h 2616731"/>
              <a:gd name="connsiteX4" fmla="*/ 0 w 2518942"/>
              <a:gd name="connsiteY4" fmla="*/ 2616731 h 2616731"/>
              <a:gd name="connsiteX5" fmla="*/ 0 w 2518942"/>
              <a:gd name="connsiteY5" fmla="*/ 0 h 2616731"/>
              <a:gd name="connsiteX0" fmla="*/ 0 w 2518942"/>
              <a:gd name="connsiteY0" fmla="*/ 0 h 2616731"/>
              <a:gd name="connsiteX1" fmla="*/ 2241386 w 2518942"/>
              <a:gd name="connsiteY1" fmla="*/ 0 h 2616731"/>
              <a:gd name="connsiteX2" fmla="*/ 2518376 w 2518942"/>
              <a:gd name="connsiteY2" fmla="*/ 333120 h 2616731"/>
              <a:gd name="connsiteX3" fmla="*/ 2515238 w 2518942"/>
              <a:gd name="connsiteY3" fmla="*/ 2616731 h 2616731"/>
              <a:gd name="connsiteX4" fmla="*/ 0 w 2518942"/>
              <a:gd name="connsiteY4" fmla="*/ 2616731 h 2616731"/>
              <a:gd name="connsiteX5" fmla="*/ 0 w 2518942"/>
              <a:gd name="connsiteY5" fmla="*/ 0 h 2616731"/>
              <a:gd name="connsiteX0" fmla="*/ 0 w 2515238"/>
              <a:gd name="connsiteY0" fmla="*/ 0 h 2616731"/>
              <a:gd name="connsiteX1" fmla="*/ 2241386 w 2515238"/>
              <a:gd name="connsiteY1" fmla="*/ 0 h 2616731"/>
              <a:gd name="connsiteX2" fmla="*/ 2511414 w 2515238"/>
              <a:gd name="connsiteY2" fmla="*/ 333120 h 2616731"/>
              <a:gd name="connsiteX3" fmla="*/ 2515238 w 2515238"/>
              <a:gd name="connsiteY3" fmla="*/ 2616731 h 2616731"/>
              <a:gd name="connsiteX4" fmla="*/ 0 w 2515238"/>
              <a:gd name="connsiteY4" fmla="*/ 2616731 h 2616731"/>
              <a:gd name="connsiteX5" fmla="*/ 0 w 2515238"/>
              <a:gd name="connsiteY5" fmla="*/ 0 h 2616731"/>
              <a:gd name="connsiteX0" fmla="*/ 0 w 2515238"/>
              <a:gd name="connsiteY0" fmla="*/ 0 h 2616731"/>
              <a:gd name="connsiteX1" fmla="*/ 2241386 w 2515238"/>
              <a:gd name="connsiteY1" fmla="*/ 0 h 2616731"/>
              <a:gd name="connsiteX2" fmla="*/ 2511414 w 2515238"/>
              <a:gd name="connsiteY2" fmla="*/ 335534 h 2616731"/>
              <a:gd name="connsiteX3" fmla="*/ 2515238 w 2515238"/>
              <a:gd name="connsiteY3" fmla="*/ 2616731 h 2616731"/>
              <a:gd name="connsiteX4" fmla="*/ 0 w 2515238"/>
              <a:gd name="connsiteY4" fmla="*/ 2616731 h 2616731"/>
              <a:gd name="connsiteX5" fmla="*/ 0 w 2515238"/>
              <a:gd name="connsiteY5" fmla="*/ 0 h 2616731"/>
              <a:gd name="connsiteX0" fmla="*/ 0 w 2516786"/>
              <a:gd name="connsiteY0" fmla="*/ 0 h 2616731"/>
              <a:gd name="connsiteX1" fmla="*/ 2241386 w 2516786"/>
              <a:gd name="connsiteY1" fmla="*/ 0 h 2616731"/>
              <a:gd name="connsiteX2" fmla="*/ 2516056 w 2516786"/>
              <a:gd name="connsiteY2" fmla="*/ 335534 h 2616731"/>
              <a:gd name="connsiteX3" fmla="*/ 2515238 w 2516786"/>
              <a:gd name="connsiteY3" fmla="*/ 2616731 h 2616731"/>
              <a:gd name="connsiteX4" fmla="*/ 0 w 2516786"/>
              <a:gd name="connsiteY4" fmla="*/ 2616731 h 2616731"/>
              <a:gd name="connsiteX5" fmla="*/ 0 w 2516786"/>
              <a:gd name="connsiteY5" fmla="*/ 0 h 2616731"/>
              <a:gd name="connsiteX0" fmla="*/ 0 w 2516786"/>
              <a:gd name="connsiteY0" fmla="*/ 0 h 2616731"/>
              <a:gd name="connsiteX1" fmla="*/ 2241386 w 2516786"/>
              <a:gd name="connsiteY1" fmla="*/ 0 h 2616731"/>
              <a:gd name="connsiteX2" fmla="*/ 2516056 w 2516786"/>
              <a:gd name="connsiteY2" fmla="*/ 335534 h 2616731"/>
              <a:gd name="connsiteX3" fmla="*/ 2515238 w 2516786"/>
              <a:gd name="connsiteY3" fmla="*/ 2616731 h 2616731"/>
              <a:gd name="connsiteX4" fmla="*/ 0 w 2516786"/>
              <a:gd name="connsiteY4" fmla="*/ 2616731 h 2616731"/>
              <a:gd name="connsiteX5" fmla="*/ 0 w 2516786"/>
              <a:gd name="connsiteY5" fmla="*/ 0 h 2616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16786" h="2616731">
                <a:moveTo>
                  <a:pt x="0" y="0"/>
                </a:moveTo>
                <a:lnTo>
                  <a:pt x="2241386" y="0"/>
                </a:lnTo>
                <a:cubicBezTo>
                  <a:pt x="2481475" y="0"/>
                  <a:pt x="2514315" y="99067"/>
                  <a:pt x="2516056" y="335534"/>
                </a:cubicBezTo>
                <a:cubicBezTo>
                  <a:pt x="2518878" y="1096738"/>
                  <a:pt x="2512416" y="1855527"/>
                  <a:pt x="2515238" y="2616731"/>
                </a:cubicBezTo>
                <a:lnTo>
                  <a:pt x="0" y="2616731"/>
                </a:lnTo>
                <a:lnTo>
                  <a:pt x="0" y="0"/>
                </a:lnTo>
                <a:close/>
              </a:path>
            </a:pathLst>
          </a:custGeom>
          <a:solidFill>
            <a:srgbClr val="005B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67" dirty="0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17" name="组合 16"/>
          <p:cNvGrpSpPr/>
          <p:nvPr userDrawn="1"/>
        </p:nvGrpSpPr>
        <p:grpSpPr>
          <a:xfrm>
            <a:off x="9800521" y="6162930"/>
            <a:ext cx="1528989" cy="299950"/>
            <a:chOff x="4214813" y="3940176"/>
            <a:chExt cx="5146676" cy="1009650"/>
          </a:xfrm>
        </p:grpSpPr>
        <p:sp>
          <p:nvSpPr>
            <p:cNvPr id="19" name="Freeform 5"/>
            <p:cNvSpPr>
              <a:spLocks/>
            </p:cNvSpPr>
            <p:nvPr userDrawn="1"/>
          </p:nvSpPr>
          <p:spPr bwMode="auto">
            <a:xfrm>
              <a:off x="4214813" y="4019551"/>
              <a:ext cx="873125" cy="895350"/>
            </a:xfrm>
            <a:custGeom>
              <a:avLst/>
              <a:gdLst>
                <a:gd name="T0" fmla="*/ 550 w 550"/>
                <a:gd name="T1" fmla="*/ 564 h 564"/>
                <a:gd name="T2" fmla="*/ 400 w 550"/>
                <a:gd name="T3" fmla="*/ 564 h 564"/>
                <a:gd name="T4" fmla="*/ 142 w 550"/>
                <a:gd name="T5" fmla="*/ 177 h 564"/>
                <a:gd name="T6" fmla="*/ 142 w 550"/>
                <a:gd name="T7" fmla="*/ 564 h 564"/>
                <a:gd name="T8" fmla="*/ 0 w 550"/>
                <a:gd name="T9" fmla="*/ 564 h 564"/>
                <a:gd name="T10" fmla="*/ 0 w 550"/>
                <a:gd name="T11" fmla="*/ 0 h 564"/>
                <a:gd name="T12" fmla="*/ 185 w 550"/>
                <a:gd name="T13" fmla="*/ 0 h 564"/>
                <a:gd name="T14" fmla="*/ 408 w 550"/>
                <a:gd name="T15" fmla="*/ 325 h 564"/>
                <a:gd name="T16" fmla="*/ 408 w 550"/>
                <a:gd name="T17" fmla="*/ 0 h 564"/>
                <a:gd name="T18" fmla="*/ 550 w 550"/>
                <a:gd name="T19" fmla="*/ 0 h 564"/>
                <a:gd name="T20" fmla="*/ 550 w 550"/>
                <a:gd name="T21" fmla="*/ 564 h 564"/>
                <a:gd name="T22" fmla="*/ 550 w 550"/>
                <a:gd name="T23" fmla="*/ 564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0" h="564">
                  <a:moveTo>
                    <a:pt x="550" y="564"/>
                  </a:moveTo>
                  <a:lnTo>
                    <a:pt x="400" y="564"/>
                  </a:lnTo>
                  <a:lnTo>
                    <a:pt x="142" y="177"/>
                  </a:lnTo>
                  <a:lnTo>
                    <a:pt x="142" y="564"/>
                  </a:lnTo>
                  <a:lnTo>
                    <a:pt x="0" y="564"/>
                  </a:lnTo>
                  <a:lnTo>
                    <a:pt x="0" y="0"/>
                  </a:lnTo>
                  <a:lnTo>
                    <a:pt x="185" y="0"/>
                  </a:lnTo>
                  <a:lnTo>
                    <a:pt x="408" y="325"/>
                  </a:lnTo>
                  <a:lnTo>
                    <a:pt x="408" y="0"/>
                  </a:lnTo>
                  <a:lnTo>
                    <a:pt x="550" y="0"/>
                  </a:lnTo>
                  <a:lnTo>
                    <a:pt x="550" y="564"/>
                  </a:lnTo>
                  <a:lnTo>
                    <a:pt x="550" y="564"/>
                  </a:lnTo>
                  <a:close/>
                </a:path>
              </a:pathLst>
            </a:custGeom>
            <a:solidFill>
              <a:srgbClr val="005B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5146676" y="4221163"/>
              <a:ext cx="766763" cy="712788"/>
            </a:xfrm>
            <a:custGeom>
              <a:avLst/>
              <a:gdLst>
                <a:gd name="T0" fmla="*/ 204 w 204"/>
                <a:gd name="T1" fmla="*/ 105 h 188"/>
                <a:gd name="T2" fmla="*/ 62 w 204"/>
                <a:gd name="T3" fmla="*/ 105 h 188"/>
                <a:gd name="T4" fmla="*/ 80 w 204"/>
                <a:gd name="T5" fmla="*/ 137 h 188"/>
                <a:gd name="T6" fmla="*/ 126 w 204"/>
                <a:gd name="T7" fmla="*/ 148 h 188"/>
                <a:gd name="T8" fmla="*/ 164 w 204"/>
                <a:gd name="T9" fmla="*/ 142 h 188"/>
                <a:gd name="T10" fmla="*/ 193 w 204"/>
                <a:gd name="T11" fmla="*/ 127 h 188"/>
                <a:gd name="T12" fmla="*/ 200 w 204"/>
                <a:gd name="T13" fmla="*/ 127 h 188"/>
                <a:gd name="T14" fmla="*/ 200 w 204"/>
                <a:gd name="T15" fmla="*/ 173 h 188"/>
                <a:gd name="T16" fmla="*/ 161 w 204"/>
                <a:gd name="T17" fmla="*/ 184 h 188"/>
                <a:gd name="T18" fmla="*/ 120 w 204"/>
                <a:gd name="T19" fmla="*/ 188 h 188"/>
                <a:gd name="T20" fmla="*/ 31 w 204"/>
                <a:gd name="T21" fmla="*/ 164 h 188"/>
                <a:gd name="T22" fmla="*/ 0 w 204"/>
                <a:gd name="T23" fmla="*/ 95 h 188"/>
                <a:gd name="T24" fmla="*/ 30 w 204"/>
                <a:gd name="T25" fmla="*/ 25 h 188"/>
                <a:gd name="T26" fmla="*/ 110 w 204"/>
                <a:gd name="T27" fmla="*/ 0 h 188"/>
                <a:gd name="T28" fmla="*/ 180 w 204"/>
                <a:gd name="T29" fmla="*/ 22 h 188"/>
                <a:gd name="T30" fmla="*/ 204 w 204"/>
                <a:gd name="T31" fmla="*/ 85 h 188"/>
                <a:gd name="T32" fmla="*/ 204 w 204"/>
                <a:gd name="T33" fmla="*/ 105 h 188"/>
                <a:gd name="T34" fmla="*/ 142 w 204"/>
                <a:gd name="T35" fmla="*/ 71 h 188"/>
                <a:gd name="T36" fmla="*/ 132 w 204"/>
                <a:gd name="T37" fmla="*/ 44 h 188"/>
                <a:gd name="T38" fmla="*/ 104 w 204"/>
                <a:gd name="T39" fmla="*/ 35 h 188"/>
                <a:gd name="T40" fmla="*/ 75 w 204"/>
                <a:gd name="T41" fmla="*/ 44 h 188"/>
                <a:gd name="T42" fmla="*/ 62 w 204"/>
                <a:gd name="T43" fmla="*/ 71 h 188"/>
                <a:gd name="T44" fmla="*/ 142 w 204"/>
                <a:gd name="T45" fmla="*/ 71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4" h="188">
                  <a:moveTo>
                    <a:pt x="204" y="105"/>
                  </a:moveTo>
                  <a:cubicBezTo>
                    <a:pt x="62" y="105"/>
                    <a:pt x="62" y="105"/>
                    <a:pt x="62" y="105"/>
                  </a:cubicBezTo>
                  <a:cubicBezTo>
                    <a:pt x="63" y="119"/>
                    <a:pt x="69" y="130"/>
                    <a:pt x="80" y="137"/>
                  </a:cubicBezTo>
                  <a:cubicBezTo>
                    <a:pt x="90" y="145"/>
                    <a:pt x="106" y="148"/>
                    <a:pt x="126" y="148"/>
                  </a:cubicBezTo>
                  <a:cubicBezTo>
                    <a:pt x="139" y="148"/>
                    <a:pt x="152" y="146"/>
                    <a:pt x="164" y="142"/>
                  </a:cubicBezTo>
                  <a:cubicBezTo>
                    <a:pt x="177" y="137"/>
                    <a:pt x="186" y="132"/>
                    <a:pt x="193" y="127"/>
                  </a:cubicBezTo>
                  <a:cubicBezTo>
                    <a:pt x="200" y="127"/>
                    <a:pt x="200" y="127"/>
                    <a:pt x="200" y="127"/>
                  </a:cubicBezTo>
                  <a:cubicBezTo>
                    <a:pt x="200" y="173"/>
                    <a:pt x="200" y="173"/>
                    <a:pt x="200" y="173"/>
                  </a:cubicBezTo>
                  <a:cubicBezTo>
                    <a:pt x="186" y="178"/>
                    <a:pt x="173" y="182"/>
                    <a:pt x="161" y="184"/>
                  </a:cubicBezTo>
                  <a:cubicBezTo>
                    <a:pt x="149" y="187"/>
                    <a:pt x="135" y="188"/>
                    <a:pt x="120" y="188"/>
                  </a:cubicBezTo>
                  <a:cubicBezTo>
                    <a:pt x="81" y="188"/>
                    <a:pt x="52" y="180"/>
                    <a:pt x="31" y="164"/>
                  </a:cubicBezTo>
                  <a:cubicBezTo>
                    <a:pt x="11" y="148"/>
                    <a:pt x="0" y="125"/>
                    <a:pt x="0" y="95"/>
                  </a:cubicBezTo>
                  <a:cubicBezTo>
                    <a:pt x="0" y="66"/>
                    <a:pt x="10" y="43"/>
                    <a:pt x="30" y="25"/>
                  </a:cubicBezTo>
                  <a:cubicBezTo>
                    <a:pt x="49" y="8"/>
                    <a:pt x="76" y="0"/>
                    <a:pt x="110" y="0"/>
                  </a:cubicBezTo>
                  <a:cubicBezTo>
                    <a:pt x="141" y="0"/>
                    <a:pt x="165" y="7"/>
                    <a:pt x="180" y="22"/>
                  </a:cubicBezTo>
                  <a:cubicBezTo>
                    <a:pt x="196" y="36"/>
                    <a:pt x="204" y="57"/>
                    <a:pt x="204" y="85"/>
                  </a:cubicBezTo>
                  <a:cubicBezTo>
                    <a:pt x="204" y="105"/>
                    <a:pt x="204" y="105"/>
                    <a:pt x="204" y="105"/>
                  </a:cubicBezTo>
                  <a:close/>
                  <a:moveTo>
                    <a:pt x="142" y="71"/>
                  </a:moveTo>
                  <a:cubicBezTo>
                    <a:pt x="142" y="59"/>
                    <a:pt x="138" y="50"/>
                    <a:pt x="132" y="44"/>
                  </a:cubicBezTo>
                  <a:cubicBezTo>
                    <a:pt x="126" y="38"/>
                    <a:pt x="117" y="35"/>
                    <a:pt x="104" y="35"/>
                  </a:cubicBezTo>
                  <a:cubicBezTo>
                    <a:pt x="92" y="35"/>
                    <a:pt x="83" y="38"/>
                    <a:pt x="75" y="44"/>
                  </a:cubicBezTo>
                  <a:cubicBezTo>
                    <a:pt x="67" y="49"/>
                    <a:pt x="63" y="59"/>
                    <a:pt x="62" y="71"/>
                  </a:cubicBezTo>
                  <a:cubicBezTo>
                    <a:pt x="142" y="71"/>
                    <a:pt x="142" y="71"/>
                    <a:pt x="142" y="71"/>
                  </a:cubicBezTo>
                  <a:close/>
                </a:path>
              </a:pathLst>
            </a:custGeom>
            <a:solidFill>
              <a:srgbClr val="005B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5973763" y="4238626"/>
              <a:ext cx="725488" cy="695325"/>
            </a:xfrm>
            <a:custGeom>
              <a:avLst/>
              <a:gdLst>
                <a:gd name="T0" fmla="*/ 193 w 193"/>
                <a:gd name="T1" fmla="*/ 178 h 183"/>
                <a:gd name="T2" fmla="*/ 131 w 193"/>
                <a:gd name="T3" fmla="*/ 178 h 183"/>
                <a:gd name="T4" fmla="*/ 131 w 193"/>
                <a:gd name="T5" fmla="*/ 159 h 183"/>
                <a:gd name="T6" fmla="*/ 100 w 193"/>
                <a:gd name="T7" fmla="*/ 177 h 183"/>
                <a:gd name="T8" fmla="*/ 66 w 193"/>
                <a:gd name="T9" fmla="*/ 183 h 183"/>
                <a:gd name="T10" fmla="*/ 18 w 193"/>
                <a:gd name="T11" fmla="*/ 166 h 183"/>
                <a:gd name="T12" fmla="*/ 0 w 193"/>
                <a:gd name="T13" fmla="*/ 116 h 183"/>
                <a:gd name="T14" fmla="*/ 0 w 193"/>
                <a:gd name="T15" fmla="*/ 0 h 183"/>
                <a:gd name="T16" fmla="*/ 62 w 193"/>
                <a:gd name="T17" fmla="*/ 0 h 183"/>
                <a:gd name="T18" fmla="*/ 62 w 193"/>
                <a:gd name="T19" fmla="*/ 89 h 183"/>
                <a:gd name="T20" fmla="*/ 63 w 193"/>
                <a:gd name="T21" fmla="*/ 111 h 183"/>
                <a:gd name="T22" fmla="*/ 68 w 193"/>
                <a:gd name="T23" fmla="*/ 126 h 183"/>
                <a:gd name="T24" fmla="*/ 78 w 193"/>
                <a:gd name="T25" fmla="*/ 135 h 183"/>
                <a:gd name="T26" fmla="*/ 96 w 193"/>
                <a:gd name="T27" fmla="*/ 137 h 183"/>
                <a:gd name="T28" fmla="*/ 113 w 193"/>
                <a:gd name="T29" fmla="*/ 135 h 183"/>
                <a:gd name="T30" fmla="*/ 131 w 193"/>
                <a:gd name="T31" fmla="*/ 127 h 183"/>
                <a:gd name="T32" fmla="*/ 131 w 193"/>
                <a:gd name="T33" fmla="*/ 0 h 183"/>
                <a:gd name="T34" fmla="*/ 193 w 193"/>
                <a:gd name="T35" fmla="*/ 0 h 183"/>
                <a:gd name="T36" fmla="*/ 193 w 193"/>
                <a:gd name="T37" fmla="*/ 178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3" h="183">
                  <a:moveTo>
                    <a:pt x="193" y="178"/>
                  </a:moveTo>
                  <a:cubicBezTo>
                    <a:pt x="131" y="178"/>
                    <a:pt x="131" y="178"/>
                    <a:pt x="131" y="178"/>
                  </a:cubicBezTo>
                  <a:cubicBezTo>
                    <a:pt x="131" y="159"/>
                    <a:pt x="131" y="159"/>
                    <a:pt x="131" y="159"/>
                  </a:cubicBezTo>
                  <a:cubicBezTo>
                    <a:pt x="120" y="167"/>
                    <a:pt x="110" y="173"/>
                    <a:pt x="100" y="177"/>
                  </a:cubicBezTo>
                  <a:cubicBezTo>
                    <a:pt x="91" y="181"/>
                    <a:pt x="80" y="183"/>
                    <a:pt x="66" y="183"/>
                  </a:cubicBezTo>
                  <a:cubicBezTo>
                    <a:pt x="45" y="183"/>
                    <a:pt x="29" y="178"/>
                    <a:pt x="18" y="166"/>
                  </a:cubicBezTo>
                  <a:cubicBezTo>
                    <a:pt x="6" y="155"/>
                    <a:pt x="0" y="138"/>
                    <a:pt x="0" y="1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98"/>
                    <a:pt x="63" y="105"/>
                    <a:pt x="63" y="111"/>
                  </a:cubicBezTo>
                  <a:cubicBezTo>
                    <a:pt x="64" y="117"/>
                    <a:pt x="65" y="122"/>
                    <a:pt x="68" y="126"/>
                  </a:cubicBezTo>
                  <a:cubicBezTo>
                    <a:pt x="70" y="130"/>
                    <a:pt x="73" y="133"/>
                    <a:pt x="78" y="135"/>
                  </a:cubicBezTo>
                  <a:cubicBezTo>
                    <a:pt x="82" y="136"/>
                    <a:pt x="88" y="137"/>
                    <a:pt x="96" y="137"/>
                  </a:cubicBezTo>
                  <a:cubicBezTo>
                    <a:pt x="101" y="137"/>
                    <a:pt x="107" y="136"/>
                    <a:pt x="113" y="135"/>
                  </a:cubicBezTo>
                  <a:cubicBezTo>
                    <a:pt x="119" y="133"/>
                    <a:pt x="126" y="130"/>
                    <a:pt x="131" y="127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93" y="0"/>
                    <a:pt x="193" y="0"/>
                    <a:pt x="193" y="0"/>
                  </a:cubicBezTo>
                  <a:cubicBezTo>
                    <a:pt x="193" y="178"/>
                    <a:pt x="193" y="178"/>
                    <a:pt x="193" y="178"/>
                  </a:cubicBezTo>
                  <a:close/>
                </a:path>
              </a:pathLst>
            </a:custGeom>
            <a:solidFill>
              <a:srgbClr val="005B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6764338" y="4221163"/>
              <a:ext cx="676275" cy="712788"/>
            </a:xfrm>
            <a:custGeom>
              <a:avLst/>
              <a:gdLst>
                <a:gd name="T0" fmla="*/ 180 w 180"/>
                <a:gd name="T1" fmla="*/ 127 h 188"/>
                <a:gd name="T2" fmla="*/ 154 w 180"/>
                <a:gd name="T3" fmla="*/ 171 h 188"/>
                <a:gd name="T4" fmla="*/ 80 w 180"/>
                <a:gd name="T5" fmla="*/ 188 h 188"/>
                <a:gd name="T6" fmla="*/ 34 w 180"/>
                <a:gd name="T7" fmla="*/ 184 h 188"/>
                <a:gd name="T8" fmla="*/ 0 w 180"/>
                <a:gd name="T9" fmla="*/ 174 h 188"/>
                <a:gd name="T10" fmla="*/ 0 w 180"/>
                <a:gd name="T11" fmla="*/ 127 h 188"/>
                <a:gd name="T12" fmla="*/ 6 w 180"/>
                <a:gd name="T13" fmla="*/ 127 h 188"/>
                <a:gd name="T14" fmla="*/ 16 w 180"/>
                <a:gd name="T15" fmla="*/ 134 h 188"/>
                <a:gd name="T16" fmla="*/ 34 w 180"/>
                <a:gd name="T17" fmla="*/ 141 h 188"/>
                <a:gd name="T18" fmla="*/ 56 w 180"/>
                <a:gd name="T19" fmla="*/ 148 h 188"/>
                <a:gd name="T20" fmla="*/ 82 w 180"/>
                <a:gd name="T21" fmla="*/ 150 h 188"/>
                <a:gd name="T22" fmla="*/ 109 w 180"/>
                <a:gd name="T23" fmla="*/ 146 h 188"/>
                <a:gd name="T24" fmla="*/ 118 w 180"/>
                <a:gd name="T25" fmla="*/ 136 h 188"/>
                <a:gd name="T26" fmla="*/ 112 w 180"/>
                <a:gd name="T27" fmla="*/ 126 h 188"/>
                <a:gd name="T28" fmla="*/ 93 w 180"/>
                <a:gd name="T29" fmla="*/ 121 h 188"/>
                <a:gd name="T30" fmla="*/ 74 w 180"/>
                <a:gd name="T31" fmla="*/ 117 h 188"/>
                <a:gd name="T32" fmla="*/ 53 w 180"/>
                <a:gd name="T33" fmla="*/ 113 h 188"/>
                <a:gd name="T34" fmla="*/ 14 w 180"/>
                <a:gd name="T35" fmla="*/ 94 h 188"/>
                <a:gd name="T36" fmla="*/ 1 w 180"/>
                <a:gd name="T37" fmla="*/ 60 h 188"/>
                <a:gd name="T38" fmla="*/ 27 w 180"/>
                <a:gd name="T39" fmla="*/ 18 h 188"/>
                <a:gd name="T40" fmla="*/ 99 w 180"/>
                <a:gd name="T41" fmla="*/ 0 h 188"/>
                <a:gd name="T42" fmla="*/ 141 w 180"/>
                <a:gd name="T43" fmla="*/ 5 h 188"/>
                <a:gd name="T44" fmla="*/ 172 w 180"/>
                <a:gd name="T45" fmla="*/ 13 h 188"/>
                <a:gd name="T46" fmla="*/ 172 w 180"/>
                <a:gd name="T47" fmla="*/ 58 h 188"/>
                <a:gd name="T48" fmla="*/ 166 w 180"/>
                <a:gd name="T49" fmla="*/ 58 h 188"/>
                <a:gd name="T50" fmla="*/ 135 w 180"/>
                <a:gd name="T51" fmla="*/ 44 h 188"/>
                <a:gd name="T52" fmla="*/ 99 w 180"/>
                <a:gd name="T53" fmla="*/ 39 h 188"/>
                <a:gd name="T54" fmla="*/ 74 w 180"/>
                <a:gd name="T55" fmla="*/ 42 h 188"/>
                <a:gd name="T56" fmla="*/ 64 w 180"/>
                <a:gd name="T57" fmla="*/ 53 h 188"/>
                <a:gd name="T58" fmla="*/ 69 w 180"/>
                <a:gd name="T59" fmla="*/ 63 h 188"/>
                <a:gd name="T60" fmla="*/ 90 w 180"/>
                <a:gd name="T61" fmla="*/ 69 h 188"/>
                <a:gd name="T62" fmla="*/ 111 w 180"/>
                <a:gd name="T63" fmla="*/ 73 h 188"/>
                <a:gd name="T64" fmla="*/ 133 w 180"/>
                <a:gd name="T65" fmla="*/ 77 h 188"/>
                <a:gd name="T66" fmla="*/ 169 w 180"/>
                <a:gd name="T67" fmla="*/ 96 h 188"/>
                <a:gd name="T68" fmla="*/ 180 w 180"/>
                <a:gd name="T69" fmla="*/ 127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0" h="188">
                  <a:moveTo>
                    <a:pt x="180" y="127"/>
                  </a:moveTo>
                  <a:cubicBezTo>
                    <a:pt x="180" y="145"/>
                    <a:pt x="171" y="160"/>
                    <a:pt x="154" y="171"/>
                  </a:cubicBezTo>
                  <a:cubicBezTo>
                    <a:pt x="136" y="183"/>
                    <a:pt x="111" y="188"/>
                    <a:pt x="80" y="188"/>
                  </a:cubicBezTo>
                  <a:cubicBezTo>
                    <a:pt x="63" y="188"/>
                    <a:pt x="48" y="187"/>
                    <a:pt x="34" y="184"/>
                  </a:cubicBezTo>
                  <a:cubicBezTo>
                    <a:pt x="20" y="181"/>
                    <a:pt x="8" y="178"/>
                    <a:pt x="0" y="174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9" y="129"/>
                    <a:pt x="12" y="131"/>
                    <a:pt x="16" y="134"/>
                  </a:cubicBezTo>
                  <a:cubicBezTo>
                    <a:pt x="21" y="136"/>
                    <a:pt x="26" y="139"/>
                    <a:pt x="34" y="141"/>
                  </a:cubicBezTo>
                  <a:cubicBezTo>
                    <a:pt x="40" y="144"/>
                    <a:pt x="47" y="146"/>
                    <a:pt x="56" y="148"/>
                  </a:cubicBezTo>
                  <a:cubicBezTo>
                    <a:pt x="64" y="149"/>
                    <a:pt x="72" y="150"/>
                    <a:pt x="82" y="150"/>
                  </a:cubicBezTo>
                  <a:cubicBezTo>
                    <a:pt x="94" y="150"/>
                    <a:pt x="103" y="149"/>
                    <a:pt x="109" y="146"/>
                  </a:cubicBezTo>
                  <a:cubicBezTo>
                    <a:pt x="115" y="144"/>
                    <a:pt x="118" y="140"/>
                    <a:pt x="118" y="136"/>
                  </a:cubicBezTo>
                  <a:cubicBezTo>
                    <a:pt x="118" y="131"/>
                    <a:pt x="116" y="128"/>
                    <a:pt x="112" y="126"/>
                  </a:cubicBezTo>
                  <a:cubicBezTo>
                    <a:pt x="109" y="124"/>
                    <a:pt x="102" y="122"/>
                    <a:pt x="93" y="121"/>
                  </a:cubicBezTo>
                  <a:cubicBezTo>
                    <a:pt x="88" y="120"/>
                    <a:pt x="82" y="119"/>
                    <a:pt x="74" y="117"/>
                  </a:cubicBezTo>
                  <a:cubicBezTo>
                    <a:pt x="66" y="116"/>
                    <a:pt x="59" y="115"/>
                    <a:pt x="53" y="113"/>
                  </a:cubicBezTo>
                  <a:cubicBezTo>
                    <a:pt x="35" y="109"/>
                    <a:pt x="22" y="103"/>
                    <a:pt x="14" y="94"/>
                  </a:cubicBezTo>
                  <a:cubicBezTo>
                    <a:pt x="5" y="85"/>
                    <a:pt x="1" y="74"/>
                    <a:pt x="1" y="60"/>
                  </a:cubicBezTo>
                  <a:cubicBezTo>
                    <a:pt x="1" y="43"/>
                    <a:pt x="10" y="29"/>
                    <a:pt x="27" y="18"/>
                  </a:cubicBezTo>
                  <a:cubicBezTo>
                    <a:pt x="45" y="6"/>
                    <a:pt x="69" y="0"/>
                    <a:pt x="99" y="0"/>
                  </a:cubicBezTo>
                  <a:cubicBezTo>
                    <a:pt x="114" y="0"/>
                    <a:pt x="127" y="2"/>
                    <a:pt x="141" y="5"/>
                  </a:cubicBezTo>
                  <a:cubicBezTo>
                    <a:pt x="154" y="7"/>
                    <a:pt x="164" y="10"/>
                    <a:pt x="172" y="13"/>
                  </a:cubicBezTo>
                  <a:cubicBezTo>
                    <a:pt x="172" y="58"/>
                    <a:pt x="172" y="58"/>
                    <a:pt x="172" y="58"/>
                  </a:cubicBezTo>
                  <a:cubicBezTo>
                    <a:pt x="166" y="58"/>
                    <a:pt x="166" y="58"/>
                    <a:pt x="166" y="58"/>
                  </a:cubicBezTo>
                  <a:cubicBezTo>
                    <a:pt x="157" y="53"/>
                    <a:pt x="147" y="48"/>
                    <a:pt x="135" y="44"/>
                  </a:cubicBezTo>
                  <a:cubicBezTo>
                    <a:pt x="123" y="41"/>
                    <a:pt x="111" y="39"/>
                    <a:pt x="99" y="39"/>
                  </a:cubicBezTo>
                  <a:cubicBezTo>
                    <a:pt x="89" y="39"/>
                    <a:pt x="81" y="40"/>
                    <a:pt x="74" y="42"/>
                  </a:cubicBezTo>
                  <a:cubicBezTo>
                    <a:pt x="67" y="45"/>
                    <a:pt x="64" y="49"/>
                    <a:pt x="64" y="53"/>
                  </a:cubicBezTo>
                  <a:cubicBezTo>
                    <a:pt x="64" y="57"/>
                    <a:pt x="65" y="61"/>
                    <a:pt x="69" y="63"/>
                  </a:cubicBezTo>
                  <a:cubicBezTo>
                    <a:pt x="72" y="65"/>
                    <a:pt x="79" y="67"/>
                    <a:pt x="90" y="69"/>
                  </a:cubicBezTo>
                  <a:cubicBezTo>
                    <a:pt x="97" y="71"/>
                    <a:pt x="103" y="72"/>
                    <a:pt x="111" y="73"/>
                  </a:cubicBezTo>
                  <a:cubicBezTo>
                    <a:pt x="118" y="74"/>
                    <a:pt x="125" y="75"/>
                    <a:pt x="133" y="77"/>
                  </a:cubicBezTo>
                  <a:cubicBezTo>
                    <a:pt x="149" y="81"/>
                    <a:pt x="161" y="87"/>
                    <a:pt x="169" y="96"/>
                  </a:cubicBezTo>
                  <a:cubicBezTo>
                    <a:pt x="176" y="104"/>
                    <a:pt x="180" y="114"/>
                    <a:pt x="180" y="127"/>
                  </a:cubicBezTo>
                  <a:close/>
                </a:path>
              </a:pathLst>
            </a:custGeom>
            <a:solidFill>
              <a:srgbClr val="005B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7489826" y="4221163"/>
              <a:ext cx="792163" cy="717550"/>
            </a:xfrm>
            <a:custGeom>
              <a:avLst/>
              <a:gdLst>
                <a:gd name="T0" fmla="*/ 211 w 211"/>
                <a:gd name="T1" fmla="*/ 94 h 189"/>
                <a:gd name="T2" fmla="*/ 183 w 211"/>
                <a:gd name="T3" fmla="*/ 164 h 189"/>
                <a:gd name="T4" fmla="*/ 105 w 211"/>
                <a:gd name="T5" fmla="*/ 189 h 189"/>
                <a:gd name="T6" fmla="*/ 27 w 211"/>
                <a:gd name="T7" fmla="*/ 164 h 189"/>
                <a:gd name="T8" fmla="*/ 0 w 211"/>
                <a:gd name="T9" fmla="*/ 94 h 189"/>
                <a:gd name="T10" fmla="*/ 28 w 211"/>
                <a:gd name="T11" fmla="*/ 25 h 189"/>
                <a:gd name="T12" fmla="*/ 105 w 211"/>
                <a:gd name="T13" fmla="*/ 0 h 189"/>
                <a:gd name="T14" fmla="*/ 183 w 211"/>
                <a:gd name="T15" fmla="*/ 25 h 189"/>
                <a:gd name="T16" fmla="*/ 211 w 211"/>
                <a:gd name="T17" fmla="*/ 94 h 189"/>
                <a:gd name="T18" fmla="*/ 135 w 211"/>
                <a:gd name="T19" fmla="*/ 138 h 189"/>
                <a:gd name="T20" fmla="*/ 144 w 211"/>
                <a:gd name="T21" fmla="*/ 121 h 189"/>
                <a:gd name="T22" fmla="*/ 147 w 211"/>
                <a:gd name="T23" fmla="*/ 95 h 189"/>
                <a:gd name="T24" fmla="*/ 144 w 211"/>
                <a:gd name="T25" fmla="*/ 68 h 189"/>
                <a:gd name="T26" fmla="*/ 135 w 211"/>
                <a:gd name="T27" fmla="*/ 51 h 189"/>
                <a:gd name="T28" fmla="*/ 122 w 211"/>
                <a:gd name="T29" fmla="*/ 42 h 189"/>
                <a:gd name="T30" fmla="*/ 105 w 211"/>
                <a:gd name="T31" fmla="*/ 39 h 189"/>
                <a:gd name="T32" fmla="*/ 89 w 211"/>
                <a:gd name="T33" fmla="*/ 41 h 189"/>
                <a:gd name="T34" fmla="*/ 76 w 211"/>
                <a:gd name="T35" fmla="*/ 50 h 189"/>
                <a:gd name="T36" fmla="*/ 67 w 211"/>
                <a:gd name="T37" fmla="*/ 67 h 189"/>
                <a:gd name="T38" fmla="*/ 64 w 211"/>
                <a:gd name="T39" fmla="*/ 95 h 189"/>
                <a:gd name="T40" fmla="*/ 67 w 211"/>
                <a:gd name="T41" fmla="*/ 120 h 189"/>
                <a:gd name="T42" fmla="*/ 75 w 211"/>
                <a:gd name="T43" fmla="*/ 137 h 189"/>
                <a:gd name="T44" fmla="*/ 88 w 211"/>
                <a:gd name="T45" fmla="*/ 146 h 189"/>
                <a:gd name="T46" fmla="*/ 106 w 211"/>
                <a:gd name="T47" fmla="*/ 149 h 189"/>
                <a:gd name="T48" fmla="*/ 122 w 211"/>
                <a:gd name="T49" fmla="*/ 147 h 189"/>
                <a:gd name="T50" fmla="*/ 135 w 211"/>
                <a:gd name="T51" fmla="*/ 138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1" h="189">
                  <a:moveTo>
                    <a:pt x="211" y="94"/>
                  </a:moveTo>
                  <a:cubicBezTo>
                    <a:pt x="211" y="124"/>
                    <a:pt x="202" y="147"/>
                    <a:pt x="183" y="164"/>
                  </a:cubicBezTo>
                  <a:cubicBezTo>
                    <a:pt x="165" y="180"/>
                    <a:pt x="139" y="189"/>
                    <a:pt x="105" y="189"/>
                  </a:cubicBezTo>
                  <a:cubicBezTo>
                    <a:pt x="72" y="189"/>
                    <a:pt x="46" y="180"/>
                    <a:pt x="27" y="164"/>
                  </a:cubicBezTo>
                  <a:cubicBezTo>
                    <a:pt x="9" y="147"/>
                    <a:pt x="0" y="124"/>
                    <a:pt x="0" y="94"/>
                  </a:cubicBezTo>
                  <a:cubicBezTo>
                    <a:pt x="0" y="65"/>
                    <a:pt x="9" y="42"/>
                    <a:pt x="28" y="25"/>
                  </a:cubicBezTo>
                  <a:cubicBezTo>
                    <a:pt x="46" y="8"/>
                    <a:pt x="72" y="0"/>
                    <a:pt x="105" y="0"/>
                  </a:cubicBezTo>
                  <a:cubicBezTo>
                    <a:pt x="139" y="0"/>
                    <a:pt x="165" y="8"/>
                    <a:pt x="183" y="25"/>
                  </a:cubicBezTo>
                  <a:cubicBezTo>
                    <a:pt x="202" y="42"/>
                    <a:pt x="211" y="65"/>
                    <a:pt x="211" y="94"/>
                  </a:cubicBezTo>
                  <a:close/>
                  <a:moveTo>
                    <a:pt x="135" y="138"/>
                  </a:moveTo>
                  <a:cubicBezTo>
                    <a:pt x="139" y="133"/>
                    <a:pt x="142" y="128"/>
                    <a:pt x="144" y="121"/>
                  </a:cubicBezTo>
                  <a:cubicBezTo>
                    <a:pt x="146" y="115"/>
                    <a:pt x="147" y="106"/>
                    <a:pt x="147" y="95"/>
                  </a:cubicBezTo>
                  <a:cubicBezTo>
                    <a:pt x="147" y="84"/>
                    <a:pt x="146" y="75"/>
                    <a:pt x="144" y="68"/>
                  </a:cubicBezTo>
                  <a:cubicBezTo>
                    <a:pt x="142" y="61"/>
                    <a:pt x="139" y="55"/>
                    <a:pt x="135" y="51"/>
                  </a:cubicBezTo>
                  <a:cubicBezTo>
                    <a:pt x="132" y="47"/>
                    <a:pt x="127" y="44"/>
                    <a:pt x="122" y="42"/>
                  </a:cubicBezTo>
                  <a:cubicBezTo>
                    <a:pt x="117" y="40"/>
                    <a:pt x="111" y="39"/>
                    <a:pt x="105" y="39"/>
                  </a:cubicBezTo>
                  <a:cubicBezTo>
                    <a:pt x="99" y="39"/>
                    <a:pt x="94" y="40"/>
                    <a:pt x="89" y="41"/>
                  </a:cubicBezTo>
                  <a:cubicBezTo>
                    <a:pt x="85" y="43"/>
                    <a:pt x="80" y="46"/>
                    <a:pt x="76" y="50"/>
                  </a:cubicBezTo>
                  <a:cubicBezTo>
                    <a:pt x="72" y="55"/>
                    <a:pt x="69" y="60"/>
                    <a:pt x="67" y="67"/>
                  </a:cubicBezTo>
                  <a:cubicBezTo>
                    <a:pt x="65" y="75"/>
                    <a:pt x="64" y="84"/>
                    <a:pt x="64" y="95"/>
                  </a:cubicBezTo>
                  <a:cubicBezTo>
                    <a:pt x="64" y="104"/>
                    <a:pt x="65" y="113"/>
                    <a:pt x="67" y="120"/>
                  </a:cubicBezTo>
                  <a:cubicBezTo>
                    <a:pt x="68" y="127"/>
                    <a:pt x="71" y="133"/>
                    <a:pt x="75" y="137"/>
                  </a:cubicBezTo>
                  <a:cubicBezTo>
                    <a:pt x="79" y="141"/>
                    <a:pt x="83" y="144"/>
                    <a:pt x="88" y="146"/>
                  </a:cubicBezTo>
                  <a:cubicBezTo>
                    <a:pt x="93" y="148"/>
                    <a:pt x="99" y="149"/>
                    <a:pt x="106" y="149"/>
                  </a:cubicBezTo>
                  <a:cubicBezTo>
                    <a:pt x="111" y="149"/>
                    <a:pt x="117" y="148"/>
                    <a:pt x="122" y="147"/>
                  </a:cubicBezTo>
                  <a:cubicBezTo>
                    <a:pt x="127" y="145"/>
                    <a:pt x="131" y="142"/>
                    <a:pt x="135" y="138"/>
                  </a:cubicBezTo>
                  <a:close/>
                </a:path>
              </a:pathLst>
            </a:custGeom>
            <a:solidFill>
              <a:srgbClr val="005B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10"/>
            <p:cNvSpPr>
              <a:spLocks/>
            </p:cNvSpPr>
            <p:nvPr userDrawn="1"/>
          </p:nvSpPr>
          <p:spPr bwMode="auto">
            <a:xfrm>
              <a:off x="8312151" y="3940176"/>
              <a:ext cx="1049338" cy="1009650"/>
            </a:xfrm>
            <a:custGeom>
              <a:avLst/>
              <a:gdLst>
                <a:gd name="T0" fmla="*/ 87 w 279"/>
                <a:gd name="T1" fmla="*/ 79 h 266"/>
                <a:gd name="T2" fmla="*/ 159 w 279"/>
                <a:gd name="T3" fmla="*/ 79 h 266"/>
                <a:gd name="T4" fmla="*/ 159 w 279"/>
                <a:gd name="T5" fmla="*/ 53 h 266"/>
                <a:gd name="T6" fmla="*/ 216 w 279"/>
                <a:gd name="T7" fmla="*/ 28 h 266"/>
                <a:gd name="T8" fmla="*/ 222 w 279"/>
                <a:gd name="T9" fmla="*/ 28 h 266"/>
                <a:gd name="T10" fmla="*/ 222 w 279"/>
                <a:gd name="T11" fmla="*/ 79 h 266"/>
                <a:gd name="T12" fmla="*/ 279 w 279"/>
                <a:gd name="T13" fmla="*/ 79 h 266"/>
                <a:gd name="T14" fmla="*/ 279 w 279"/>
                <a:gd name="T15" fmla="*/ 118 h 266"/>
                <a:gd name="T16" fmla="*/ 222 w 279"/>
                <a:gd name="T17" fmla="*/ 118 h 266"/>
                <a:gd name="T18" fmla="*/ 222 w 279"/>
                <a:gd name="T19" fmla="*/ 198 h 266"/>
                <a:gd name="T20" fmla="*/ 248 w 279"/>
                <a:gd name="T21" fmla="*/ 221 h 266"/>
                <a:gd name="T22" fmla="*/ 273 w 279"/>
                <a:gd name="T23" fmla="*/ 216 h 266"/>
                <a:gd name="T24" fmla="*/ 279 w 279"/>
                <a:gd name="T25" fmla="*/ 216 h 266"/>
                <a:gd name="T26" fmla="*/ 279 w 279"/>
                <a:gd name="T27" fmla="*/ 255 h 266"/>
                <a:gd name="T28" fmla="*/ 201 w 279"/>
                <a:gd name="T29" fmla="*/ 258 h 266"/>
                <a:gd name="T30" fmla="*/ 164 w 279"/>
                <a:gd name="T31" fmla="*/ 229 h 266"/>
                <a:gd name="T32" fmla="*/ 159 w 279"/>
                <a:gd name="T33" fmla="*/ 205 h 266"/>
                <a:gd name="T34" fmla="*/ 159 w 279"/>
                <a:gd name="T35" fmla="*/ 118 h 266"/>
                <a:gd name="T36" fmla="*/ 88 w 279"/>
                <a:gd name="T37" fmla="*/ 118 h 266"/>
                <a:gd name="T38" fmla="*/ 88 w 279"/>
                <a:gd name="T39" fmla="*/ 257 h 266"/>
                <a:gd name="T40" fmla="*/ 26 w 279"/>
                <a:gd name="T41" fmla="*/ 257 h 266"/>
                <a:gd name="T42" fmla="*/ 26 w 279"/>
                <a:gd name="T43" fmla="*/ 118 h 266"/>
                <a:gd name="T44" fmla="*/ 0 w 279"/>
                <a:gd name="T45" fmla="*/ 118 h 266"/>
                <a:gd name="T46" fmla="*/ 0 w 279"/>
                <a:gd name="T47" fmla="*/ 79 h 266"/>
                <a:gd name="T48" fmla="*/ 27 w 279"/>
                <a:gd name="T49" fmla="*/ 79 h 266"/>
                <a:gd name="T50" fmla="*/ 48 w 279"/>
                <a:gd name="T51" fmla="*/ 23 h 266"/>
                <a:gd name="T52" fmla="*/ 147 w 279"/>
                <a:gd name="T53" fmla="*/ 13 h 266"/>
                <a:gd name="T54" fmla="*/ 147 w 279"/>
                <a:gd name="T55" fmla="*/ 53 h 266"/>
                <a:gd name="T56" fmla="*/ 142 w 279"/>
                <a:gd name="T57" fmla="*/ 53 h 266"/>
                <a:gd name="T58" fmla="*/ 89 w 279"/>
                <a:gd name="T59" fmla="*/ 60 h 266"/>
                <a:gd name="T60" fmla="*/ 87 w 279"/>
                <a:gd name="T61" fmla="*/ 79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79" h="266">
                  <a:moveTo>
                    <a:pt x="87" y="79"/>
                  </a:moveTo>
                  <a:cubicBezTo>
                    <a:pt x="159" y="79"/>
                    <a:pt x="159" y="79"/>
                    <a:pt x="159" y="79"/>
                  </a:cubicBezTo>
                  <a:cubicBezTo>
                    <a:pt x="159" y="53"/>
                    <a:pt x="159" y="53"/>
                    <a:pt x="159" y="53"/>
                  </a:cubicBezTo>
                  <a:cubicBezTo>
                    <a:pt x="216" y="28"/>
                    <a:pt x="216" y="28"/>
                    <a:pt x="216" y="28"/>
                  </a:cubicBezTo>
                  <a:cubicBezTo>
                    <a:pt x="222" y="28"/>
                    <a:pt x="222" y="28"/>
                    <a:pt x="222" y="28"/>
                  </a:cubicBezTo>
                  <a:cubicBezTo>
                    <a:pt x="222" y="79"/>
                    <a:pt x="222" y="79"/>
                    <a:pt x="222" y="79"/>
                  </a:cubicBezTo>
                  <a:cubicBezTo>
                    <a:pt x="279" y="79"/>
                    <a:pt x="279" y="79"/>
                    <a:pt x="279" y="79"/>
                  </a:cubicBezTo>
                  <a:cubicBezTo>
                    <a:pt x="279" y="118"/>
                    <a:pt x="279" y="118"/>
                    <a:pt x="279" y="118"/>
                  </a:cubicBezTo>
                  <a:cubicBezTo>
                    <a:pt x="222" y="118"/>
                    <a:pt x="222" y="118"/>
                    <a:pt x="222" y="118"/>
                  </a:cubicBezTo>
                  <a:cubicBezTo>
                    <a:pt x="222" y="198"/>
                    <a:pt x="222" y="198"/>
                    <a:pt x="222" y="198"/>
                  </a:cubicBezTo>
                  <a:cubicBezTo>
                    <a:pt x="222" y="198"/>
                    <a:pt x="221" y="223"/>
                    <a:pt x="248" y="221"/>
                  </a:cubicBezTo>
                  <a:cubicBezTo>
                    <a:pt x="248" y="221"/>
                    <a:pt x="260" y="222"/>
                    <a:pt x="273" y="216"/>
                  </a:cubicBezTo>
                  <a:cubicBezTo>
                    <a:pt x="279" y="216"/>
                    <a:pt x="279" y="216"/>
                    <a:pt x="279" y="216"/>
                  </a:cubicBezTo>
                  <a:cubicBezTo>
                    <a:pt x="279" y="255"/>
                    <a:pt x="279" y="255"/>
                    <a:pt x="279" y="255"/>
                  </a:cubicBezTo>
                  <a:cubicBezTo>
                    <a:pt x="279" y="255"/>
                    <a:pt x="245" y="266"/>
                    <a:pt x="201" y="258"/>
                  </a:cubicBezTo>
                  <a:cubicBezTo>
                    <a:pt x="201" y="258"/>
                    <a:pt x="173" y="253"/>
                    <a:pt x="164" y="229"/>
                  </a:cubicBezTo>
                  <a:cubicBezTo>
                    <a:pt x="164" y="229"/>
                    <a:pt x="159" y="218"/>
                    <a:pt x="159" y="205"/>
                  </a:cubicBezTo>
                  <a:cubicBezTo>
                    <a:pt x="159" y="118"/>
                    <a:pt x="159" y="118"/>
                    <a:pt x="159" y="118"/>
                  </a:cubicBezTo>
                  <a:cubicBezTo>
                    <a:pt x="88" y="118"/>
                    <a:pt x="88" y="118"/>
                    <a:pt x="88" y="118"/>
                  </a:cubicBezTo>
                  <a:cubicBezTo>
                    <a:pt x="88" y="257"/>
                    <a:pt x="88" y="257"/>
                    <a:pt x="88" y="257"/>
                  </a:cubicBezTo>
                  <a:cubicBezTo>
                    <a:pt x="26" y="257"/>
                    <a:pt x="26" y="257"/>
                    <a:pt x="26" y="257"/>
                  </a:cubicBezTo>
                  <a:cubicBezTo>
                    <a:pt x="26" y="118"/>
                    <a:pt x="26" y="118"/>
                    <a:pt x="26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3" y="41"/>
                    <a:pt x="48" y="23"/>
                  </a:cubicBezTo>
                  <a:cubicBezTo>
                    <a:pt x="48" y="23"/>
                    <a:pt x="76" y="0"/>
                    <a:pt x="147" y="13"/>
                  </a:cubicBezTo>
                  <a:cubicBezTo>
                    <a:pt x="147" y="53"/>
                    <a:pt x="147" y="53"/>
                    <a:pt x="147" y="53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2" y="53"/>
                    <a:pt x="99" y="40"/>
                    <a:pt x="89" y="60"/>
                  </a:cubicBezTo>
                  <a:cubicBezTo>
                    <a:pt x="89" y="60"/>
                    <a:pt x="85" y="69"/>
                    <a:pt x="87" y="79"/>
                  </a:cubicBezTo>
                  <a:close/>
                </a:path>
              </a:pathLst>
            </a:custGeom>
            <a:solidFill>
              <a:srgbClr val="005B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28869977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89693"/>
            <a:ext cx="10515600" cy="701749"/>
          </a:xfrm>
        </p:spPr>
        <p:txBody>
          <a:bodyPr>
            <a:normAutofit/>
          </a:bodyPr>
          <a:lstStyle>
            <a:lvl1pPr>
              <a:defRPr sz="2400">
                <a:solidFill>
                  <a:srgbClr val="0B60BA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86107" cy="701749"/>
          </a:xfrm>
          <a:prstGeom prst="rect">
            <a:avLst/>
          </a:prstGeom>
        </p:spPr>
      </p:pic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9276425" y="6356350"/>
            <a:ext cx="274320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fld id="{B3A6178B-2E18-4B42-AA2B-709D6E1FCE08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9099" y="247993"/>
            <a:ext cx="1129401" cy="205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13381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四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文本框 17"/>
          <p:cNvSpPr txBox="1"/>
          <p:nvPr userDrawn="1"/>
        </p:nvSpPr>
        <p:spPr>
          <a:xfrm>
            <a:off x="836421" y="6233666"/>
            <a:ext cx="39110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anose="05000000000000000000" pitchFamily="2" charset="2"/>
              <a:buNone/>
            </a:pPr>
            <a:r>
              <a:rPr lang="en-US" altLang="zh-CN" sz="1000" dirty="0">
                <a:solidFill>
                  <a:srgbClr val="323232"/>
                </a:solidFill>
                <a:latin typeface="Verdana" panose="020B0604030504040204" pitchFamily="34" charset="0"/>
              </a:rPr>
              <a:t>Copyright © 2020 Neusoft Corporation</a:t>
            </a:r>
          </a:p>
        </p:txBody>
      </p:sp>
      <p:sp>
        <p:nvSpPr>
          <p:cNvPr id="20" name="矩形 19"/>
          <p:cNvSpPr/>
          <p:nvPr userDrawn="1"/>
        </p:nvSpPr>
        <p:spPr>
          <a:xfrm>
            <a:off x="836421" y="6030540"/>
            <a:ext cx="69762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东软秘密</a:t>
            </a:r>
          </a:p>
        </p:txBody>
      </p:sp>
      <p:sp>
        <p:nvSpPr>
          <p:cNvPr id="21" name="文本占位符 126"/>
          <p:cNvSpPr>
            <a:spLocks noGrp="1"/>
          </p:cNvSpPr>
          <p:nvPr>
            <p:ph type="body" sz="quarter" idx="19" hasCustomPrompt="1"/>
          </p:nvPr>
        </p:nvSpPr>
        <p:spPr>
          <a:xfrm>
            <a:off x="855662" y="5469496"/>
            <a:ext cx="8580438" cy="339645"/>
          </a:xfrm>
          <a:prstGeom prst="rect">
            <a:avLst/>
          </a:prstGeom>
          <a:noFill/>
        </p:spPr>
        <p:txBody>
          <a:bodyPr wrap="square" tIns="468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演讲人                </a:t>
            </a:r>
            <a:r>
              <a:rPr lang="en-US" altLang="zh-CN" dirty="0"/>
              <a:t>16pt </a:t>
            </a:r>
            <a:r>
              <a:rPr lang="zh-CN" altLang="en-US" dirty="0"/>
              <a:t>微软雅黑</a:t>
            </a:r>
          </a:p>
        </p:txBody>
      </p:sp>
      <p:sp>
        <p:nvSpPr>
          <p:cNvPr id="22" name="图片占位符 30"/>
          <p:cNvSpPr>
            <a:spLocks noGrp="1"/>
          </p:cNvSpPr>
          <p:nvPr>
            <p:ph type="pic" sz="quarter" idx="17"/>
          </p:nvPr>
        </p:nvSpPr>
        <p:spPr>
          <a:xfrm>
            <a:off x="897499" y="0"/>
            <a:ext cx="6927595" cy="3440888"/>
          </a:xfrm>
          <a:custGeom>
            <a:avLst/>
            <a:gdLst>
              <a:gd name="connsiteX0" fmla="*/ 5151490 w 7697585"/>
              <a:gd name="connsiteY0" fmla="*/ 0 h 2622900"/>
              <a:gd name="connsiteX1" fmla="*/ 7618189 w 7697585"/>
              <a:gd name="connsiteY1" fmla="*/ 0 h 2622900"/>
              <a:gd name="connsiteX2" fmla="*/ 7697585 w 7697585"/>
              <a:gd name="connsiteY2" fmla="*/ 0 h 2622900"/>
              <a:gd name="connsiteX3" fmla="*/ 7697585 w 7697585"/>
              <a:gd name="connsiteY3" fmla="*/ 1143928 h 2622900"/>
              <a:gd name="connsiteX4" fmla="*/ 7697584 w 7697585"/>
              <a:gd name="connsiteY4" fmla="*/ 1143928 h 2622900"/>
              <a:gd name="connsiteX5" fmla="*/ 7697584 w 7697585"/>
              <a:gd name="connsiteY5" fmla="*/ 2543505 h 2622900"/>
              <a:gd name="connsiteX6" fmla="*/ 7618189 w 7697585"/>
              <a:gd name="connsiteY6" fmla="*/ 2622900 h 2622900"/>
              <a:gd name="connsiteX7" fmla="*/ 5151490 w 7697585"/>
              <a:gd name="connsiteY7" fmla="*/ 2622900 h 2622900"/>
              <a:gd name="connsiteX8" fmla="*/ 2581562 w 7697585"/>
              <a:gd name="connsiteY8" fmla="*/ 0 h 2622900"/>
              <a:gd name="connsiteX9" fmla="*/ 5105771 w 7697585"/>
              <a:gd name="connsiteY9" fmla="*/ 0 h 2622900"/>
              <a:gd name="connsiteX10" fmla="*/ 5105771 w 7697585"/>
              <a:gd name="connsiteY10" fmla="*/ 2622900 h 2622900"/>
              <a:gd name="connsiteX11" fmla="*/ 2581562 w 7697585"/>
              <a:gd name="connsiteY11" fmla="*/ 2622900 h 2622900"/>
              <a:gd name="connsiteX12" fmla="*/ 1 w 7697585"/>
              <a:gd name="connsiteY12" fmla="*/ 0 h 2622900"/>
              <a:gd name="connsiteX13" fmla="*/ 79395 w 7697585"/>
              <a:gd name="connsiteY13" fmla="*/ 0 h 2622900"/>
              <a:gd name="connsiteX14" fmla="*/ 2535843 w 7697585"/>
              <a:gd name="connsiteY14" fmla="*/ 0 h 2622900"/>
              <a:gd name="connsiteX15" fmla="*/ 2535843 w 7697585"/>
              <a:gd name="connsiteY15" fmla="*/ 2622900 h 2622900"/>
              <a:gd name="connsiteX16" fmla="*/ 79395 w 7697585"/>
              <a:gd name="connsiteY16" fmla="*/ 2622900 h 2622900"/>
              <a:gd name="connsiteX17" fmla="*/ 0 w 7697585"/>
              <a:gd name="connsiteY17" fmla="*/ 2543505 h 2622900"/>
              <a:gd name="connsiteX18" fmla="*/ 0 w 7697585"/>
              <a:gd name="connsiteY18" fmla="*/ 79395 h 2622900"/>
              <a:gd name="connsiteX19" fmla="*/ 1 w 7697585"/>
              <a:gd name="connsiteY19" fmla="*/ 79390 h 2622900"/>
              <a:gd name="connsiteX0-1" fmla="*/ 5151490 w 7697585"/>
              <a:gd name="connsiteY0-2" fmla="*/ 0 h 2622900"/>
              <a:gd name="connsiteX1-3" fmla="*/ 7618189 w 7697585"/>
              <a:gd name="connsiteY1-4" fmla="*/ 0 h 2622900"/>
              <a:gd name="connsiteX2-5" fmla="*/ 7697585 w 7697585"/>
              <a:gd name="connsiteY2-6" fmla="*/ 1143928 h 2622900"/>
              <a:gd name="connsiteX3-7" fmla="*/ 7697584 w 7697585"/>
              <a:gd name="connsiteY3-8" fmla="*/ 1143928 h 2622900"/>
              <a:gd name="connsiteX4-9" fmla="*/ 7697584 w 7697585"/>
              <a:gd name="connsiteY4-10" fmla="*/ 2543505 h 2622900"/>
              <a:gd name="connsiteX5-11" fmla="*/ 7618189 w 7697585"/>
              <a:gd name="connsiteY5-12" fmla="*/ 2622900 h 2622900"/>
              <a:gd name="connsiteX6-13" fmla="*/ 5151490 w 7697585"/>
              <a:gd name="connsiteY6-14" fmla="*/ 2622900 h 2622900"/>
              <a:gd name="connsiteX7-15" fmla="*/ 5151490 w 7697585"/>
              <a:gd name="connsiteY7-16" fmla="*/ 0 h 2622900"/>
              <a:gd name="connsiteX8-17" fmla="*/ 2581562 w 7697585"/>
              <a:gd name="connsiteY8-18" fmla="*/ 0 h 2622900"/>
              <a:gd name="connsiteX9-19" fmla="*/ 5105771 w 7697585"/>
              <a:gd name="connsiteY9-20" fmla="*/ 0 h 2622900"/>
              <a:gd name="connsiteX10-21" fmla="*/ 5105771 w 7697585"/>
              <a:gd name="connsiteY10-22" fmla="*/ 2622900 h 2622900"/>
              <a:gd name="connsiteX11-23" fmla="*/ 2581562 w 7697585"/>
              <a:gd name="connsiteY11-24" fmla="*/ 2622900 h 2622900"/>
              <a:gd name="connsiteX12-25" fmla="*/ 2581562 w 7697585"/>
              <a:gd name="connsiteY12-26" fmla="*/ 0 h 2622900"/>
              <a:gd name="connsiteX13-27" fmla="*/ 1 w 7697585"/>
              <a:gd name="connsiteY13-28" fmla="*/ 0 h 2622900"/>
              <a:gd name="connsiteX14-29" fmla="*/ 79395 w 7697585"/>
              <a:gd name="connsiteY14-30" fmla="*/ 0 h 2622900"/>
              <a:gd name="connsiteX15-31" fmla="*/ 2535843 w 7697585"/>
              <a:gd name="connsiteY15-32" fmla="*/ 0 h 2622900"/>
              <a:gd name="connsiteX16-33" fmla="*/ 2535843 w 7697585"/>
              <a:gd name="connsiteY16-34" fmla="*/ 2622900 h 2622900"/>
              <a:gd name="connsiteX17-35" fmla="*/ 79395 w 7697585"/>
              <a:gd name="connsiteY17-36" fmla="*/ 2622900 h 2622900"/>
              <a:gd name="connsiteX18-37" fmla="*/ 0 w 7697585"/>
              <a:gd name="connsiteY18-38" fmla="*/ 2543505 h 2622900"/>
              <a:gd name="connsiteX19-39" fmla="*/ 0 w 7697585"/>
              <a:gd name="connsiteY19-40" fmla="*/ 79395 h 2622900"/>
              <a:gd name="connsiteX20" fmla="*/ 1 w 7697585"/>
              <a:gd name="connsiteY20" fmla="*/ 79390 h 2622900"/>
              <a:gd name="connsiteX21" fmla="*/ 1 w 7697585"/>
              <a:gd name="connsiteY21" fmla="*/ 0 h 2622900"/>
              <a:gd name="connsiteX0-41" fmla="*/ 5151490 w 7697585"/>
              <a:gd name="connsiteY0-42" fmla="*/ 0 h 2622900"/>
              <a:gd name="connsiteX1-43" fmla="*/ 7697585 w 7697585"/>
              <a:gd name="connsiteY1-44" fmla="*/ 1143928 h 2622900"/>
              <a:gd name="connsiteX2-45" fmla="*/ 7697584 w 7697585"/>
              <a:gd name="connsiteY2-46" fmla="*/ 1143928 h 2622900"/>
              <a:gd name="connsiteX3-47" fmla="*/ 7697584 w 7697585"/>
              <a:gd name="connsiteY3-48" fmla="*/ 2543505 h 2622900"/>
              <a:gd name="connsiteX4-49" fmla="*/ 7618189 w 7697585"/>
              <a:gd name="connsiteY4-50" fmla="*/ 2622900 h 2622900"/>
              <a:gd name="connsiteX5-51" fmla="*/ 5151490 w 7697585"/>
              <a:gd name="connsiteY5-52" fmla="*/ 2622900 h 2622900"/>
              <a:gd name="connsiteX6-53" fmla="*/ 5151490 w 7697585"/>
              <a:gd name="connsiteY6-54" fmla="*/ 0 h 2622900"/>
              <a:gd name="connsiteX7-55" fmla="*/ 2581562 w 7697585"/>
              <a:gd name="connsiteY7-56" fmla="*/ 0 h 2622900"/>
              <a:gd name="connsiteX8-57" fmla="*/ 5105771 w 7697585"/>
              <a:gd name="connsiteY8-58" fmla="*/ 0 h 2622900"/>
              <a:gd name="connsiteX9-59" fmla="*/ 5105771 w 7697585"/>
              <a:gd name="connsiteY9-60" fmla="*/ 2622900 h 2622900"/>
              <a:gd name="connsiteX10-61" fmla="*/ 2581562 w 7697585"/>
              <a:gd name="connsiteY10-62" fmla="*/ 2622900 h 2622900"/>
              <a:gd name="connsiteX11-63" fmla="*/ 2581562 w 7697585"/>
              <a:gd name="connsiteY11-64" fmla="*/ 0 h 2622900"/>
              <a:gd name="connsiteX12-65" fmla="*/ 1 w 7697585"/>
              <a:gd name="connsiteY12-66" fmla="*/ 0 h 2622900"/>
              <a:gd name="connsiteX13-67" fmla="*/ 79395 w 7697585"/>
              <a:gd name="connsiteY13-68" fmla="*/ 0 h 2622900"/>
              <a:gd name="connsiteX14-69" fmla="*/ 2535843 w 7697585"/>
              <a:gd name="connsiteY14-70" fmla="*/ 0 h 2622900"/>
              <a:gd name="connsiteX15-71" fmla="*/ 2535843 w 7697585"/>
              <a:gd name="connsiteY15-72" fmla="*/ 2622900 h 2622900"/>
              <a:gd name="connsiteX16-73" fmla="*/ 79395 w 7697585"/>
              <a:gd name="connsiteY16-74" fmla="*/ 2622900 h 2622900"/>
              <a:gd name="connsiteX17-75" fmla="*/ 0 w 7697585"/>
              <a:gd name="connsiteY17-76" fmla="*/ 2543505 h 2622900"/>
              <a:gd name="connsiteX18-77" fmla="*/ 0 w 7697585"/>
              <a:gd name="connsiteY18-78" fmla="*/ 79395 h 2622900"/>
              <a:gd name="connsiteX19-79" fmla="*/ 1 w 7697585"/>
              <a:gd name="connsiteY19-80" fmla="*/ 79390 h 2622900"/>
              <a:gd name="connsiteX20-81" fmla="*/ 1 w 7697585"/>
              <a:gd name="connsiteY20-82" fmla="*/ 0 h 2622900"/>
              <a:gd name="connsiteX0-83" fmla="*/ 5151490 w 7697585"/>
              <a:gd name="connsiteY0-84" fmla="*/ 0 h 2622900"/>
              <a:gd name="connsiteX1-85" fmla="*/ 7697585 w 7697585"/>
              <a:gd name="connsiteY1-86" fmla="*/ 1143928 h 2622900"/>
              <a:gd name="connsiteX2-87" fmla="*/ 7697584 w 7697585"/>
              <a:gd name="connsiteY2-88" fmla="*/ 2543505 h 2622900"/>
              <a:gd name="connsiteX3-89" fmla="*/ 7618189 w 7697585"/>
              <a:gd name="connsiteY3-90" fmla="*/ 2622900 h 2622900"/>
              <a:gd name="connsiteX4-91" fmla="*/ 5151490 w 7697585"/>
              <a:gd name="connsiteY4-92" fmla="*/ 2622900 h 2622900"/>
              <a:gd name="connsiteX5-93" fmla="*/ 5151490 w 7697585"/>
              <a:gd name="connsiteY5-94" fmla="*/ 0 h 2622900"/>
              <a:gd name="connsiteX6-95" fmla="*/ 2581562 w 7697585"/>
              <a:gd name="connsiteY6-96" fmla="*/ 0 h 2622900"/>
              <a:gd name="connsiteX7-97" fmla="*/ 5105771 w 7697585"/>
              <a:gd name="connsiteY7-98" fmla="*/ 0 h 2622900"/>
              <a:gd name="connsiteX8-99" fmla="*/ 5105771 w 7697585"/>
              <a:gd name="connsiteY8-100" fmla="*/ 2622900 h 2622900"/>
              <a:gd name="connsiteX9-101" fmla="*/ 2581562 w 7697585"/>
              <a:gd name="connsiteY9-102" fmla="*/ 2622900 h 2622900"/>
              <a:gd name="connsiteX10-103" fmla="*/ 2581562 w 7697585"/>
              <a:gd name="connsiteY10-104" fmla="*/ 0 h 2622900"/>
              <a:gd name="connsiteX11-105" fmla="*/ 1 w 7697585"/>
              <a:gd name="connsiteY11-106" fmla="*/ 0 h 2622900"/>
              <a:gd name="connsiteX12-107" fmla="*/ 79395 w 7697585"/>
              <a:gd name="connsiteY12-108" fmla="*/ 0 h 2622900"/>
              <a:gd name="connsiteX13-109" fmla="*/ 2535843 w 7697585"/>
              <a:gd name="connsiteY13-110" fmla="*/ 0 h 2622900"/>
              <a:gd name="connsiteX14-111" fmla="*/ 2535843 w 7697585"/>
              <a:gd name="connsiteY14-112" fmla="*/ 2622900 h 2622900"/>
              <a:gd name="connsiteX15-113" fmla="*/ 79395 w 7697585"/>
              <a:gd name="connsiteY15-114" fmla="*/ 2622900 h 2622900"/>
              <a:gd name="connsiteX16-115" fmla="*/ 0 w 7697585"/>
              <a:gd name="connsiteY16-116" fmla="*/ 2543505 h 2622900"/>
              <a:gd name="connsiteX17-117" fmla="*/ 0 w 7697585"/>
              <a:gd name="connsiteY17-118" fmla="*/ 79395 h 2622900"/>
              <a:gd name="connsiteX18-119" fmla="*/ 1 w 7697585"/>
              <a:gd name="connsiteY18-120" fmla="*/ 79390 h 2622900"/>
              <a:gd name="connsiteX19-121" fmla="*/ 1 w 7697585"/>
              <a:gd name="connsiteY19-122" fmla="*/ 0 h 2622900"/>
              <a:gd name="connsiteX0-123" fmla="*/ 5151490 w 7697584"/>
              <a:gd name="connsiteY0-124" fmla="*/ 0 h 2622900"/>
              <a:gd name="connsiteX1-125" fmla="*/ 7697584 w 7697584"/>
              <a:gd name="connsiteY1-126" fmla="*/ 2543505 h 2622900"/>
              <a:gd name="connsiteX2-127" fmla="*/ 7618189 w 7697584"/>
              <a:gd name="connsiteY2-128" fmla="*/ 2622900 h 2622900"/>
              <a:gd name="connsiteX3-129" fmla="*/ 5151490 w 7697584"/>
              <a:gd name="connsiteY3-130" fmla="*/ 2622900 h 2622900"/>
              <a:gd name="connsiteX4-131" fmla="*/ 5151490 w 7697584"/>
              <a:gd name="connsiteY4-132" fmla="*/ 0 h 2622900"/>
              <a:gd name="connsiteX5-133" fmla="*/ 2581562 w 7697584"/>
              <a:gd name="connsiteY5-134" fmla="*/ 0 h 2622900"/>
              <a:gd name="connsiteX6-135" fmla="*/ 5105771 w 7697584"/>
              <a:gd name="connsiteY6-136" fmla="*/ 0 h 2622900"/>
              <a:gd name="connsiteX7-137" fmla="*/ 5105771 w 7697584"/>
              <a:gd name="connsiteY7-138" fmla="*/ 2622900 h 2622900"/>
              <a:gd name="connsiteX8-139" fmla="*/ 2581562 w 7697584"/>
              <a:gd name="connsiteY8-140" fmla="*/ 2622900 h 2622900"/>
              <a:gd name="connsiteX9-141" fmla="*/ 2581562 w 7697584"/>
              <a:gd name="connsiteY9-142" fmla="*/ 0 h 2622900"/>
              <a:gd name="connsiteX10-143" fmla="*/ 1 w 7697584"/>
              <a:gd name="connsiteY10-144" fmla="*/ 0 h 2622900"/>
              <a:gd name="connsiteX11-145" fmla="*/ 79395 w 7697584"/>
              <a:gd name="connsiteY11-146" fmla="*/ 0 h 2622900"/>
              <a:gd name="connsiteX12-147" fmla="*/ 2535843 w 7697584"/>
              <a:gd name="connsiteY12-148" fmla="*/ 0 h 2622900"/>
              <a:gd name="connsiteX13-149" fmla="*/ 2535843 w 7697584"/>
              <a:gd name="connsiteY13-150" fmla="*/ 2622900 h 2622900"/>
              <a:gd name="connsiteX14-151" fmla="*/ 79395 w 7697584"/>
              <a:gd name="connsiteY14-152" fmla="*/ 2622900 h 2622900"/>
              <a:gd name="connsiteX15-153" fmla="*/ 0 w 7697584"/>
              <a:gd name="connsiteY15-154" fmla="*/ 2543505 h 2622900"/>
              <a:gd name="connsiteX16-155" fmla="*/ 0 w 7697584"/>
              <a:gd name="connsiteY16-156" fmla="*/ 79395 h 2622900"/>
              <a:gd name="connsiteX17-157" fmla="*/ 1 w 7697584"/>
              <a:gd name="connsiteY17-158" fmla="*/ 79390 h 2622900"/>
              <a:gd name="connsiteX18-159" fmla="*/ 1 w 7697584"/>
              <a:gd name="connsiteY18-160" fmla="*/ 0 h 2622900"/>
              <a:gd name="connsiteX0-161" fmla="*/ 5151490 w 7618189"/>
              <a:gd name="connsiteY0-162" fmla="*/ 0 h 2622900"/>
              <a:gd name="connsiteX1-163" fmla="*/ 7618189 w 7618189"/>
              <a:gd name="connsiteY1-164" fmla="*/ 2622900 h 2622900"/>
              <a:gd name="connsiteX2-165" fmla="*/ 5151490 w 7618189"/>
              <a:gd name="connsiteY2-166" fmla="*/ 2622900 h 2622900"/>
              <a:gd name="connsiteX3-167" fmla="*/ 5151490 w 7618189"/>
              <a:gd name="connsiteY3-168" fmla="*/ 0 h 2622900"/>
              <a:gd name="connsiteX4-169" fmla="*/ 2581562 w 7618189"/>
              <a:gd name="connsiteY4-170" fmla="*/ 0 h 2622900"/>
              <a:gd name="connsiteX5-171" fmla="*/ 5105771 w 7618189"/>
              <a:gd name="connsiteY5-172" fmla="*/ 0 h 2622900"/>
              <a:gd name="connsiteX6-173" fmla="*/ 5105771 w 7618189"/>
              <a:gd name="connsiteY6-174" fmla="*/ 2622900 h 2622900"/>
              <a:gd name="connsiteX7-175" fmla="*/ 2581562 w 7618189"/>
              <a:gd name="connsiteY7-176" fmla="*/ 2622900 h 2622900"/>
              <a:gd name="connsiteX8-177" fmla="*/ 2581562 w 7618189"/>
              <a:gd name="connsiteY8-178" fmla="*/ 0 h 2622900"/>
              <a:gd name="connsiteX9-179" fmla="*/ 1 w 7618189"/>
              <a:gd name="connsiteY9-180" fmla="*/ 0 h 2622900"/>
              <a:gd name="connsiteX10-181" fmla="*/ 79395 w 7618189"/>
              <a:gd name="connsiteY10-182" fmla="*/ 0 h 2622900"/>
              <a:gd name="connsiteX11-183" fmla="*/ 2535843 w 7618189"/>
              <a:gd name="connsiteY11-184" fmla="*/ 0 h 2622900"/>
              <a:gd name="connsiteX12-185" fmla="*/ 2535843 w 7618189"/>
              <a:gd name="connsiteY12-186" fmla="*/ 2622900 h 2622900"/>
              <a:gd name="connsiteX13-187" fmla="*/ 79395 w 7618189"/>
              <a:gd name="connsiteY13-188" fmla="*/ 2622900 h 2622900"/>
              <a:gd name="connsiteX14-189" fmla="*/ 0 w 7618189"/>
              <a:gd name="connsiteY14-190" fmla="*/ 2543505 h 2622900"/>
              <a:gd name="connsiteX15-191" fmla="*/ 0 w 7618189"/>
              <a:gd name="connsiteY15-192" fmla="*/ 79395 h 2622900"/>
              <a:gd name="connsiteX16-193" fmla="*/ 1 w 7618189"/>
              <a:gd name="connsiteY16-194" fmla="*/ 79390 h 2622900"/>
              <a:gd name="connsiteX17-195" fmla="*/ 1 w 7618189"/>
              <a:gd name="connsiteY17-196" fmla="*/ 0 h 2622900"/>
              <a:gd name="connsiteX0-197" fmla="*/ 5151490 w 5151490"/>
              <a:gd name="connsiteY0-198" fmla="*/ 0 h 2622900"/>
              <a:gd name="connsiteX1-199" fmla="*/ 5151490 w 5151490"/>
              <a:gd name="connsiteY1-200" fmla="*/ 2622900 h 2622900"/>
              <a:gd name="connsiteX2-201" fmla="*/ 5151490 w 5151490"/>
              <a:gd name="connsiteY2-202" fmla="*/ 0 h 2622900"/>
              <a:gd name="connsiteX3-203" fmla="*/ 2581562 w 5151490"/>
              <a:gd name="connsiteY3-204" fmla="*/ 0 h 2622900"/>
              <a:gd name="connsiteX4-205" fmla="*/ 5105771 w 5151490"/>
              <a:gd name="connsiteY4-206" fmla="*/ 0 h 2622900"/>
              <a:gd name="connsiteX5-207" fmla="*/ 5105771 w 5151490"/>
              <a:gd name="connsiteY5-208" fmla="*/ 2622900 h 2622900"/>
              <a:gd name="connsiteX6-209" fmla="*/ 2581562 w 5151490"/>
              <a:gd name="connsiteY6-210" fmla="*/ 2622900 h 2622900"/>
              <a:gd name="connsiteX7-211" fmla="*/ 2581562 w 5151490"/>
              <a:gd name="connsiteY7-212" fmla="*/ 0 h 2622900"/>
              <a:gd name="connsiteX8-213" fmla="*/ 1 w 5151490"/>
              <a:gd name="connsiteY8-214" fmla="*/ 0 h 2622900"/>
              <a:gd name="connsiteX9-215" fmla="*/ 79395 w 5151490"/>
              <a:gd name="connsiteY9-216" fmla="*/ 0 h 2622900"/>
              <a:gd name="connsiteX10-217" fmla="*/ 2535843 w 5151490"/>
              <a:gd name="connsiteY10-218" fmla="*/ 0 h 2622900"/>
              <a:gd name="connsiteX11-219" fmla="*/ 2535843 w 5151490"/>
              <a:gd name="connsiteY11-220" fmla="*/ 2622900 h 2622900"/>
              <a:gd name="connsiteX12-221" fmla="*/ 79395 w 5151490"/>
              <a:gd name="connsiteY12-222" fmla="*/ 2622900 h 2622900"/>
              <a:gd name="connsiteX13-223" fmla="*/ 0 w 5151490"/>
              <a:gd name="connsiteY13-224" fmla="*/ 2543505 h 2622900"/>
              <a:gd name="connsiteX14-225" fmla="*/ 0 w 5151490"/>
              <a:gd name="connsiteY14-226" fmla="*/ 79395 h 2622900"/>
              <a:gd name="connsiteX15-227" fmla="*/ 1 w 5151490"/>
              <a:gd name="connsiteY15-228" fmla="*/ 79390 h 2622900"/>
              <a:gd name="connsiteX16-229" fmla="*/ 1 w 5151490"/>
              <a:gd name="connsiteY16-230" fmla="*/ 0 h 2622900"/>
              <a:gd name="connsiteX0-231" fmla="*/ 2581562 w 5105771"/>
              <a:gd name="connsiteY0-232" fmla="*/ 0 h 2622900"/>
              <a:gd name="connsiteX1-233" fmla="*/ 5105771 w 5105771"/>
              <a:gd name="connsiteY1-234" fmla="*/ 0 h 2622900"/>
              <a:gd name="connsiteX2-235" fmla="*/ 5105771 w 5105771"/>
              <a:gd name="connsiteY2-236" fmla="*/ 2622900 h 2622900"/>
              <a:gd name="connsiteX3-237" fmla="*/ 2581562 w 5105771"/>
              <a:gd name="connsiteY3-238" fmla="*/ 2622900 h 2622900"/>
              <a:gd name="connsiteX4-239" fmla="*/ 2581562 w 5105771"/>
              <a:gd name="connsiteY4-240" fmla="*/ 0 h 2622900"/>
              <a:gd name="connsiteX5-241" fmla="*/ 1 w 5105771"/>
              <a:gd name="connsiteY5-242" fmla="*/ 0 h 2622900"/>
              <a:gd name="connsiteX6-243" fmla="*/ 79395 w 5105771"/>
              <a:gd name="connsiteY6-244" fmla="*/ 0 h 2622900"/>
              <a:gd name="connsiteX7-245" fmla="*/ 2535843 w 5105771"/>
              <a:gd name="connsiteY7-246" fmla="*/ 0 h 2622900"/>
              <a:gd name="connsiteX8-247" fmla="*/ 2535843 w 5105771"/>
              <a:gd name="connsiteY8-248" fmla="*/ 2622900 h 2622900"/>
              <a:gd name="connsiteX9-249" fmla="*/ 79395 w 5105771"/>
              <a:gd name="connsiteY9-250" fmla="*/ 2622900 h 2622900"/>
              <a:gd name="connsiteX10-251" fmla="*/ 0 w 5105771"/>
              <a:gd name="connsiteY10-252" fmla="*/ 2543505 h 2622900"/>
              <a:gd name="connsiteX11-253" fmla="*/ 0 w 5105771"/>
              <a:gd name="connsiteY11-254" fmla="*/ 79395 h 2622900"/>
              <a:gd name="connsiteX12-255" fmla="*/ 1 w 5105771"/>
              <a:gd name="connsiteY12-256" fmla="*/ 79390 h 2622900"/>
              <a:gd name="connsiteX13-257" fmla="*/ 1 w 5105771"/>
              <a:gd name="connsiteY13-258" fmla="*/ 0 h 2622900"/>
              <a:gd name="connsiteX0-259" fmla="*/ 2581562 w 5105771"/>
              <a:gd name="connsiteY0-260" fmla="*/ 0 h 2622900"/>
              <a:gd name="connsiteX1-261" fmla="*/ 5105771 w 5105771"/>
              <a:gd name="connsiteY1-262" fmla="*/ 0 h 2622900"/>
              <a:gd name="connsiteX2-263" fmla="*/ 5105771 w 5105771"/>
              <a:gd name="connsiteY2-264" fmla="*/ 2622900 h 2622900"/>
              <a:gd name="connsiteX3-265" fmla="*/ 2581562 w 5105771"/>
              <a:gd name="connsiteY3-266" fmla="*/ 2622900 h 2622900"/>
              <a:gd name="connsiteX4-267" fmla="*/ 2581562 w 5105771"/>
              <a:gd name="connsiteY4-268" fmla="*/ 0 h 2622900"/>
              <a:gd name="connsiteX5-269" fmla="*/ 1 w 5105771"/>
              <a:gd name="connsiteY5-270" fmla="*/ 0 h 2622900"/>
              <a:gd name="connsiteX6-271" fmla="*/ 79395 w 5105771"/>
              <a:gd name="connsiteY6-272" fmla="*/ 0 h 2622900"/>
              <a:gd name="connsiteX7-273" fmla="*/ 2535843 w 5105771"/>
              <a:gd name="connsiteY7-274" fmla="*/ 0 h 2622900"/>
              <a:gd name="connsiteX8-275" fmla="*/ 2535843 w 5105771"/>
              <a:gd name="connsiteY8-276" fmla="*/ 2622900 h 2622900"/>
              <a:gd name="connsiteX9-277" fmla="*/ 79395 w 5105771"/>
              <a:gd name="connsiteY9-278" fmla="*/ 2622900 h 2622900"/>
              <a:gd name="connsiteX10-279" fmla="*/ 0 w 5105771"/>
              <a:gd name="connsiteY10-280" fmla="*/ 2479975 h 2622900"/>
              <a:gd name="connsiteX11-281" fmla="*/ 0 w 5105771"/>
              <a:gd name="connsiteY11-282" fmla="*/ 79395 h 2622900"/>
              <a:gd name="connsiteX12-283" fmla="*/ 1 w 5105771"/>
              <a:gd name="connsiteY12-284" fmla="*/ 79390 h 2622900"/>
              <a:gd name="connsiteX13-285" fmla="*/ 1 w 5105771"/>
              <a:gd name="connsiteY13-286" fmla="*/ 0 h 2622900"/>
              <a:gd name="connsiteX0-287" fmla="*/ 2581562 w 5105771"/>
              <a:gd name="connsiteY0-288" fmla="*/ 0 h 2622900"/>
              <a:gd name="connsiteX1-289" fmla="*/ 5105771 w 5105771"/>
              <a:gd name="connsiteY1-290" fmla="*/ 0 h 2622900"/>
              <a:gd name="connsiteX2-291" fmla="*/ 5105771 w 5105771"/>
              <a:gd name="connsiteY2-292" fmla="*/ 2622900 h 2622900"/>
              <a:gd name="connsiteX3-293" fmla="*/ 2581562 w 5105771"/>
              <a:gd name="connsiteY3-294" fmla="*/ 2622900 h 2622900"/>
              <a:gd name="connsiteX4-295" fmla="*/ 2581562 w 5105771"/>
              <a:gd name="connsiteY4-296" fmla="*/ 0 h 2622900"/>
              <a:gd name="connsiteX5-297" fmla="*/ 1 w 5105771"/>
              <a:gd name="connsiteY5-298" fmla="*/ 0 h 2622900"/>
              <a:gd name="connsiteX6-299" fmla="*/ 79395 w 5105771"/>
              <a:gd name="connsiteY6-300" fmla="*/ 0 h 2622900"/>
              <a:gd name="connsiteX7-301" fmla="*/ 2535843 w 5105771"/>
              <a:gd name="connsiteY7-302" fmla="*/ 0 h 2622900"/>
              <a:gd name="connsiteX8-303" fmla="*/ 2535843 w 5105771"/>
              <a:gd name="connsiteY8-304" fmla="*/ 2622900 h 2622900"/>
              <a:gd name="connsiteX9-305" fmla="*/ 123271 w 5105771"/>
              <a:gd name="connsiteY9-306" fmla="*/ 2622900 h 2622900"/>
              <a:gd name="connsiteX10-307" fmla="*/ 0 w 5105771"/>
              <a:gd name="connsiteY10-308" fmla="*/ 2479975 h 2622900"/>
              <a:gd name="connsiteX11-309" fmla="*/ 0 w 5105771"/>
              <a:gd name="connsiteY11-310" fmla="*/ 79395 h 2622900"/>
              <a:gd name="connsiteX12-311" fmla="*/ 1 w 5105771"/>
              <a:gd name="connsiteY12-312" fmla="*/ 79390 h 2622900"/>
              <a:gd name="connsiteX13-313" fmla="*/ 1 w 5105771"/>
              <a:gd name="connsiteY13-314" fmla="*/ 0 h 2622900"/>
              <a:gd name="connsiteX0-315" fmla="*/ 2581562 w 5105771"/>
              <a:gd name="connsiteY0-316" fmla="*/ 0 h 2622900"/>
              <a:gd name="connsiteX1-317" fmla="*/ 5105771 w 5105771"/>
              <a:gd name="connsiteY1-318" fmla="*/ 0 h 2622900"/>
              <a:gd name="connsiteX2-319" fmla="*/ 5105771 w 5105771"/>
              <a:gd name="connsiteY2-320" fmla="*/ 2622900 h 2622900"/>
              <a:gd name="connsiteX3-321" fmla="*/ 2581562 w 5105771"/>
              <a:gd name="connsiteY3-322" fmla="*/ 2622900 h 2622900"/>
              <a:gd name="connsiteX4-323" fmla="*/ 2581562 w 5105771"/>
              <a:gd name="connsiteY4-324" fmla="*/ 0 h 2622900"/>
              <a:gd name="connsiteX5-325" fmla="*/ 1 w 5105771"/>
              <a:gd name="connsiteY5-326" fmla="*/ 0 h 2622900"/>
              <a:gd name="connsiteX6-327" fmla="*/ 79395 w 5105771"/>
              <a:gd name="connsiteY6-328" fmla="*/ 0 h 2622900"/>
              <a:gd name="connsiteX7-329" fmla="*/ 2535843 w 5105771"/>
              <a:gd name="connsiteY7-330" fmla="*/ 0 h 2622900"/>
              <a:gd name="connsiteX8-331" fmla="*/ 2535843 w 5105771"/>
              <a:gd name="connsiteY8-332" fmla="*/ 2622900 h 2622900"/>
              <a:gd name="connsiteX9-333" fmla="*/ 123271 w 5105771"/>
              <a:gd name="connsiteY9-334" fmla="*/ 2622900 h 2622900"/>
              <a:gd name="connsiteX10-335" fmla="*/ 0 w 5105771"/>
              <a:gd name="connsiteY10-336" fmla="*/ 2479975 h 2622900"/>
              <a:gd name="connsiteX11-337" fmla="*/ 0 w 5105771"/>
              <a:gd name="connsiteY11-338" fmla="*/ 79395 h 2622900"/>
              <a:gd name="connsiteX12-339" fmla="*/ 1 w 5105771"/>
              <a:gd name="connsiteY12-340" fmla="*/ 79390 h 2622900"/>
              <a:gd name="connsiteX13-341" fmla="*/ 1 w 5105771"/>
              <a:gd name="connsiteY13-342" fmla="*/ 0 h 2622900"/>
              <a:gd name="connsiteX0-343" fmla="*/ 2684436 w 5208645"/>
              <a:gd name="connsiteY0-344" fmla="*/ 0 h 2643383"/>
              <a:gd name="connsiteX1-345" fmla="*/ 5208645 w 5208645"/>
              <a:gd name="connsiteY1-346" fmla="*/ 0 h 2643383"/>
              <a:gd name="connsiteX2-347" fmla="*/ 5208645 w 5208645"/>
              <a:gd name="connsiteY2-348" fmla="*/ 2622900 h 2643383"/>
              <a:gd name="connsiteX3-349" fmla="*/ 2684436 w 5208645"/>
              <a:gd name="connsiteY3-350" fmla="*/ 2622900 h 2643383"/>
              <a:gd name="connsiteX4-351" fmla="*/ 2684436 w 5208645"/>
              <a:gd name="connsiteY4-352" fmla="*/ 0 h 2643383"/>
              <a:gd name="connsiteX5-353" fmla="*/ 102875 w 5208645"/>
              <a:gd name="connsiteY5-354" fmla="*/ 0 h 2643383"/>
              <a:gd name="connsiteX6-355" fmla="*/ 182269 w 5208645"/>
              <a:gd name="connsiteY6-356" fmla="*/ 0 h 2643383"/>
              <a:gd name="connsiteX7-357" fmla="*/ 2638717 w 5208645"/>
              <a:gd name="connsiteY7-358" fmla="*/ 0 h 2643383"/>
              <a:gd name="connsiteX8-359" fmla="*/ 2638717 w 5208645"/>
              <a:gd name="connsiteY8-360" fmla="*/ 2622900 h 2643383"/>
              <a:gd name="connsiteX9-361" fmla="*/ 226145 w 5208645"/>
              <a:gd name="connsiteY9-362" fmla="*/ 2622900 h 2643383"/>
              <a:gd name="connsiteX10-363" fmla="*/ 102874 w 5208645"/>
              <a:gd name="connsiteY10-364" fmla="*/ 2346379 h 2643383"/>
              <a:gd name="connsiteX11-365" fmla="*/ 102874 w 5208645"/>
              <a:gd name="connsiteY11-366" fmla="*/ 79395 h 2643383"/>
              <a:gd name="connsiteX12-367" fmla="*/ 102875 w 5208645"/>
              <a:gd name="connsiteY12-368" fmla="*/ 79390 h 2643383"/>
              <a:gd name="connsiteX13-369" fmla="*/ 102875 w 5208645"/>
              <a:gd name="connsiteY13-370" fmla="*/ 0 h 2643383"/>
              <a:gd name="connsiteX0-371" fmla="*/ 2684436 w 5208645"/>
              <a:gd name="connsiteY0-372" fmla="*/ 0 h 2643383"/>
              <a:gd name="connsiteX1-373" fmla="*/ 5208645 w 5208645"/>
              <a:gd name="connsiteY1-374" fmla="*/ 0 h 2643383"/>
              <a:gd name="connsiteX2-375" fmla="*/ 5208645 w 5208645"/>
              <a:gd name="connsiteY2-376" fmla="*/ 2622900 h 2643383"/>
              <a:gd name="connsiteX3-377" fmla="*/ 2684436 w 5208645"/>
              <a:gd name="connsiteY3-378" fmla="*/ 2622900 h 2643383"/>
              <a:gd name="connsiteX4-379" fmla="*/ 2684436 w 5208645"/>
              <a:gd name="connsiteY4-380" fmla="*/ 0 h 2643383"/>
              <a:gd name="connsiteX5-381" fmla="*/ 102875 w 5208645"/>
              <a:gd name="connsiteY5-382" fmla="*/ 0 h 2643383"/>
              <a:gd name="connsiteX6-383" fmla="*/ 182269 w 5208645"/>
              <a:gd name="connsiteY6-384" fmla="*/ 0 h 2643383"/>
              <a:gd name="connsiteX7-385" fmla="*/ 2638717 w 5208645"/>
              <a:gd name="connsiteY7-386" fmla="*/ 0 h 2643383"/>
              <a:gd name="connsiteX8-387" fmla="*/ 2638717 w 5208645"/>
              <a:gd name="connsiteY8-388" fmla="*/ 2622900 h 2643383"/>
              <a:gd name="connsiteX9-389" fmla="*/ 226145 w 5208645"/>
              <a:gd name="connsiteY9-390" fmla="*/ 2622900 h 2643383"/>
              <a:gd name="connsiteX10-391" fmla="*/ 102874 w 5208645"/>
              <a:gd name="connsiteY10-392" fmla="*/ 2346379 h 2643383"/>
              <a:gd name="connsiteX11-393" fmla="*/ 102874 w 5208645"/>
              <a:gd name="connsiteY11-394" fmla="*/ 79395 h 2643383"/>
              <a:gd name="connsiteX12-395" fmla="*/ 102875 w 5208645"/>
              <a:gd name="connsiteY12-396" fmla="*/ 79390 h 2643383"/>
              <a:gd name="connsiteX13-397" fmla="*/ 102875 w 5208645"/>
              <a:gd name="connsiteY13-398" fmla="*/ 0 h 2643383"/>
              <a:gd name="connsiteX0-399" fmla="*/ 2684436 w 5208645"/>
              <a:gd name="connsiteY0-400" fmla="*/ 0 h 2622900"/>
              <a:gd name="connsiteX1-401" fmla="*/ 5208645 w 5208645"/>
              <a:gd name="connsiteY1-402" fmla="*/ 0 h 2622900"/>
              <a:gd name="connsiteX2-403" fmla="*/ 5208645 w 5208645"/>
              <a:gd name="connsiteY2-404" fmla="*/ 2622900 h 2622900"/>
              <a:gd name="connsiteX3-405" fmla="*/ 2684436 w 5208645"/>
              <a:gd name="connsiteY3-406" fmla="*/ 2622900 h 2622900"/>
              <a:gd name="connsiteX4-407" fmla="*/ 2684436 w 5208645"/>
              <a:gd name="connsiteY4-408" fmla="*/ 0 h 2622900"/>
              <a:gd name="connsiteX5-409" fmla="*/ 102875 w 5208645"/>
              <a:gd name="connsiteY5-410" fmla="*/ 0 h 2622900"/>
              <a:gd name="connsiteX6-411" fmla="*/ 182269 w 5208645"/>
              <a:gd name="connsiteY6-412" fmla="*/ 0 h 2622900"/>
              <a:gd name="connsiteX7-413" fmla="*/ 2638717 w 5208645"/>
              <a:gd name="connsiteY7-414" fmla="*/ 0 h 2622900"/>
              <a:gd name="connsiteX8-415" fmla="*/ 2638717 w 5208645"/>
              <a:gd name="connsiteY8-416" fmla="*/ 2622900 h 2622900"/>
              <a:gd name="connsiteX9-417" fmla="*/ 226145 w 5208645"/>
              <a:gd name="connsiteY9-418" fmla="*/ 2622900 h 2622900"/>
              <a:gd name="connsiteX10-419" fmla="*/ 102874 w 5208645"/>
              <a:gd name="connsiteY10-420" fmla="*/ 2346379 h 2622900"/>
              <a:gd name="connsiteX11-421" fmla="*/ 102874 w 5208645"/>
              <a:gd name="connsiteY11-422" fmla="*/ 79395 h 2622900"/>
              <a:gd name="connsiteX12-423" fmla="*/ 102875 w 5208645"/>
              <a:gd name="connsiteY12-424" fmla="*/ 79390 h 2622900"/>
              <a:gd name="connsiteX13-425" fmla="*/ 102875 w 5208645"/>
              <a:gd name="connsiteY13-426" fmla="*/ 0 h 2622900"/>
              <a:gd name="connsiteX0-427" fmla="*/ 2582362 w 5106571"/>
              <a:gd name="connsiteY0-428" fmla="*/ 0 h 2622900"/>
              <a:gd name="connsiteX1-429" fmla="*/ 5106571 w 5106571"/>
              <a:gd name="connsiteY1-430" fmla="*/ 0 h 2622900"/>
              <a:gd name="connsiteX2-431" fmla="*/ 5106571 w 5106571"/>
              <a:gd name="connsiteY2-432" fmla="*/ 2622900 h 2622900"/>
              <a:gd name="connsiteX3-433" fmla="*/ 2582362 w 5106571"/>
              <a:gd name="connsiteY3-434" fmla="*/ 2622900 h 2622900"/>
              <a:gd name="connsiteX4-435" fmla="*/ 2582362 w 5106571"/>
              <a:gd name="connsiteY4-436" fmla="*/ 0 h 2622900"/>
              <a:gd name="connsiteX5-437" fmla="*/ 801 w 5106571"/>
              <a:gd name="connsiteY5-438" fmla="*/ 0 h 2622900"/>
              <a:gd name="connsiteX6-439" fmla="*/ 80195 w 5106571"/>
              <a:gd name="connsiteY6-440" fmla="*/ 0 h 2622900"/>
              <a:gd name="connsiteX7-441" fmla="*/ 2536643 w 5106571"/>
              <a:gd name="connsiteY7-442" fmla="*/ 0 h 2622900"/>
              <a:gd name="connsiteX8-443" fmla="*/ 2536643 w 5106571"/>
              <a:gd name="connsiteY8-444" fmla="*/ 2622900 h 2622900"/>
              <a:gd name="connsiteX9-445" fmla="*/ 124071 w 5106571"/>
              <a:gd name="connsiteY9-446" fmla="*/ 2622900 h 2622900"/>
              <a:gd name="connsiteX10-447" fmla="*/ 800 w 5106571"/>
              <a:gd name="connsiteY10-448" fmla="*/ 2346379 h 2622900"/>
              <a:gd name="connsiteX11-449" fmla="*/ 800 w 5106571"/>
              <a:gd name="connsiteY11-450" fmla="*/ 79395 h 2622900"/>
              <a:gd name="connsiteX12-451" fmla="*/ 801 w 5106571"/>
              <a:gd name="connsiteY12-452" fmla="*/ 79390 h 2622900"/>
              <a:gd name="connsiteX13-453" fmla="*/ 801 w 5106571"/>
              <a:gd name="connsiteY13-454" fmla="*/ 0 h 2622900"/>
              <a:gd name="connsiteX0-455" fmla="*/ 2581562 w 5105771"/>
              <a:gd name="connsiteY0-456" fmla="*/ 0 h 2622900"/>
              <a:gd name="connsiteX1-457" fmla="*/ 5105771 w 5105771"/>
              <a:gd name="connsiteY1-458" fmla="*/ 0 h 2622900"/>
              <a:gd name="connsiteX2-459" fmla="*/ 5105771 w 5105771"/>
              <a:gd name="connsiteY2-460" fmla="*/ 2622900 h 2622900"/>
              <a:gd name="connsiteX3-461" fmla="*/ 2581562 w 5105771"/>
              <a:gd name="connsiteY3-462" fmla="*/ 2622900 h 2622900"/>
              <a:gd name="connsiteX4-463" fmla="*/ 2581562 w 5105771"/>
              <a:gd name="connsiteY4-464" fmla="*/ 0 h 2622900"/>
              <a:gd name="connsiteX5-465" fmla="*/ 1 w 5105771"/>
              <a:gd name="connsiteY5-466" fmla="*/ 0 h 2622900"/>
              <a:gd name="connsiteX6-467" fmla="*/ 79395 w 5105771"/>
              <a:gd name="connsiteY6-468" fmla="*/ 0 h 2622900"/>
              <a:gd name="connsiteX7-469" fmla="*/ 2535843 w 5105771"/>
              <a:gd name="connsiteY7-470" fmla="*/ 0 h 2622900"/>
              <a:gd name="connsiteX8-471" fmla="*/ 2535843 w 5105771"/>
              <a:gd name="connsiteY8-472" fmla="*/ 2622900 h 2622900"/>
              <a:gd name="connsiteX9-473" fmla="*/ 165392 w 5105771"/>
              <a:gd name="connsiteY9-474" fmla="*/ 2622900 h 2622900"/>
              <a:gd name="connsiteX10-475" fmla="*/ 0 w 5105771"/>
              <a:gd name="connsiteY10-476" fmla="*/ 2346379 h 2622900"/>
              <a:gd name="connsiteX11-477" fmla="*/ 0 w 5105771"/>
              <a:gd name="connsiteY11-478" fmla="*/ 79395 h 2622900"/>
              <a:gd name="connsiteX12-479" fmla="*/ 1 w 5105771"/>
              <a:gd name="connsiteY12-480" fmla="*/ 79390 h 2622900"/>
              <a:gd name="connsiteX13-481" fmla="*/ 1 w 5105771"/>
              <a:gd name="connsiteY13-482" fmla="*/ 0 h 2622900"/>
              <a:gd name="connsiteX0-483" fmla="*/ 2581785 w 5105994"/>
              <a:gd name="connsiteY0-484" fmla="*/ 0 h 2622900"/>
              <a:gd name="connsiteX1-485" fmla="*/ 5105994 w 5105994"/>
              <a:gd name="connsiteY1-486" fmla="*/ 0 h 2622900"/>
              <a:gd name="connsiteX2-487" fmla="*/ 5105994 w 5105994"/>
              <a:gd name="connsiteY2-488" fmla="*/ 2622900 h 2622900"/>
              <a:gd name="connsiteX3-489" fmla="*/ 2581785 w 5105994"/>
              <a:gd name="connsiteY3-490" fmla="*/ 2622900 h 2622900"/>
              <a:gd name="connsiteX4-491" fmla="*/ 2581785 w 5105994"/>
              <a:gd name="connsiteY4-492" fmla="*/ 0 h 2622900"/>
              <a:gd name="connsiteX5-493" fmla="*/ 224 w 5105994"/>
              <a:gd name="connsiteY5-494" fmla="*/ 0 h 2622900"/>
              <a:gd name="connsiteX6-495" fmla="*/ 79618 w 5105994"/>
              <a:gd name="connsiteY6-496" fmla="*/ 0 h 2622900"/>
              <a:gd name="connsiteX7-497" fmla="*/ 2536066 w 5105994"/>
              <a:gd name="connsiteY7-498" fmla="*/ 0 h 2622900"/>
              <a:gd name="connsiteX8-499" fmla="*/ 2536066 w 5105994"/>
              <a:gd name="connsiteY8-500" fmla="*/ 2622900 h 2622900"/>
              <a:gd name="connsiteX9-501" fmla="*/ 165615 w 5105994"/>
              <a:gd name="connsiteY9-502" fmla="*/ 2622900 h 2622900"/>
              <a:gd name="connsiteX10-503" fmla="*/ 223 w 5105994"/>
              <a:gd name="connsiteY10-504" fmla="*/ 2346379 h 2622900"/>
              <a:gd name="connsiteX11-505" fmla="*/ 223 w 5105994"/>
              <a:gd name="connsiteY11-506" fmla="*/ 79395 h 2622900"/>
              <a:gd name="connsiteX12-507" fmla="*/ 224 w 5105994"/>
              <a:gd name="connsiteY12-508" fmla="*/ 79390 h 2622900"/>
              <a:gd name="connsiteX13-509" fmla="*/ 224 w 5105994"/>
              <a:gd name="connsiteY13-510" fmla="*/ 0 h 2622900"/>
              <a:gd name="connsiteX0-511" fmla="*/ 2581562 w 5105771"/>
              <a:gd name="connsiteY0-512" fmla="*/ 0 h 2622900"/>
              <a:gd name="connsiteX1-513" fmla="*/ 5105771 w 5105771"/>
              <a:gd name="connsiteY1-514" fmla="*/ 0 h 2622900"/>
              <a:gd name="connsiteX2-515" fmla="*/ 5105771 w 5105771"/>
              <a:gd name="connsiteY2-516" fmla="*/ 2622900 h 2622900"/>
              <a:gd name="connsiteX3-517" fmla="*/ 2581562 w 5105771"/>
              <a:gd name="connsiteY3-518" fmla="*/ 2622900 h 2622900"/>
              <a:gd name="connsiteX4-519" fmla="*/ 2581562 w 5105771"/>
              <a:gd name="connsiteY4-520" fmla="*/ 0 h 2622900"/>
              <a:gd name="connsiteX5-521" fmla="*/ 1 w 5105771"/>
              <a:gd name="connsiteY5-522" fmla="*/ 0 h 2622900"/>
              <a:gd name="connsiteX6-523" fmla="*/ 79395 w 5105771"/>
              <a:gd name="connsiteY6-524" fmla="*/ 0 h 2622900"/>
              <a:gd name="connsiteX7-525" fmla="*/ 2535843 w 5105771"/>
              <a:gd name="connsiteY7-526" fmla="*/ 0 h 2622900"/>
              <a:gd name="connsiteX8-527" fmla="*/ 2535843 w 5105771"/>
              <a:gd name="connsiteY8-528" fmla="*/ 2622900 h 2622900"/>
              <a:gd name="connsiteX9-529" fmla="*/ 198738 w 5105771"/>
              <a:gd name="connsiteY9-530" fmla="*/ 2622900 h 2622900"/>
              <a:gd name="connsiteX10-531" fmla="*/ 0 w 5105771"/>
              <a:gd name="connsiteY10-532" fmla="*/ 2346379 h 2622900"/>
              <a:gd name="connsiteX11-533" fmla="*/ 0 w 5105771"/>
              <a:gd name="connsiteY11-534" fmla="*/ 79395 h 2622900"/>
              <a:gd name="connsiteX12-535" fmla="*/ 1 w 5105771"/>
              <a:gd name="connsiteY12-536" fmla="*/ 79390 h 2622900"/>
              <a:gd name="connsiteX13-537" fmla="*/ 1 w 5105771"/>
              <a:gd name="connsiteY13-538" fmla="*/ 0 h 2622900"/>
              <a:gd name="connsiteX0-539" fmla="*/ 2581562 w 5105771"/>
              <a:gd name="connsiteY0-540" fmla="*/ 0 h 2622900"/>
              <a:gd name="connsiteX1-541" fmla="*/ 5105771 w 5105771"/>
              <a:gd name="connsiteY1-542" fmla="*/ 0 h 2622900"/>
              <a:gd name="connsiteX2-543" fmla="*/ 5105771 w 5105771"/>
              <a:gd name="connsiteY2-544" fmla="*/ 2622900 h 2622900"/>
              <a:gd name="connsiteX3-545" fmla="*/ 2581562 w 5105771"/>
              <a:gd name="connsiteY3-546" fmla="*/ 2622900 h 2622900"/>
              <a:gd name="connsiteX4-547" fmla="*/ 2581562 w 5105771"/>
              <a:gd name="connsiteY4-548" fmla="*/ 0 h 2622900"/>
              <a:gd name="connsiteX5-549" fmla="*/ 1 w 5105771"/>
              <a:gd name="connsiteY5-550" fmla="*/ 0 h 2622900"/>
              <a:gd name="connsiteX6-551" fmla="*/ 79395 w 5105771"/>
              <a:gd name="connsiteY6-552" fmla="*/ 0 h 2622900"/>
              <a:gd name="connsiteX7-553" fmla="*/ 2535843 w 5105771"/>
              <a:gd name="connsiteY7-554" fmla="*/ 0 h 2622900"/>
              <a:gd name="connsiteX8-555" fmla="*/ 2535843 w 5105771"/>
              <a:gd name="connsiteY8-556" fmla="*/ 2622900 h 2622900"/>
              <a:gd name="connsiteX9-557" fmla="*/ 198738 w 5105771"/>
              <a:gd name="connsiteY9-558" fmla="*/ 2622900 h 2622900"/>
              <a:gd name="connsiteX10-559" fmla="*/ 0 w 5105771"/>
              <a:gd name="connsiteY10-560" fmla="*/ 2346379 h 2622900"/>
              <a:gd name="connsiteX11-561" fmla="*/ 0 w 5105771"/>
              <a:gd name="connsiteY11-562" fmla="*/ 79395 h 2622900"/>
              <a:gd name="connsiteX12-563" fmla="*/ 1 w 5105771"/>
              <a:gd name="connsiteY12-564" fmla="*/ 79390 h 2622900"/>
              <a:gd name="connsiteX13-565" fmla="*/ 1 w 5105771"/>
              <a:gd name="connsiteY13-566" fmla="*/ 0 h 26229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  <a:cxn ang="0">
                <a:pos x="connsiteX11-23" y="connsiteY11-24"/>
              </a:cxn>
              <a:cxn ang="0">
                <a:pos x="connsiteX12-25" y="connsiteY12-26"/>
              </a:cxn>
              <a:cxn ang="0">
                <a:pos x="connsiteX13-27" y="connsiteY13-28"/>
              </a:cxn>
            </a:cxnLst>
            <a:rect l="l" t="t" r="r" b="b"/>
            <a:pathLst>
              <a:path w="5105771" h="2622900">
                <a:moveTo>
                  <a:pt x="2581562" y="0"/>
                </a:moveTo>
                <a:lnTo>
                  <a:pt x="5105771" y="0"/>
                </a:lnTo>
                <a:lnTo>
                  <a:pt x="5105771" y="2622900"/>
                </a:lnTo>
                <a:lnTo>
                  <a:pt x="2581562" y="2622900"/>
                </a:lnTo>
                <a:lnTo>
                  <a:pt x="2581562" y="0"/>
                </a:lnTo>
                <a:close/>
                <a:moveTo>
                  <a:pt x="1" y="0"/>
                </a:moveTo>
                <a:lnTo>
                  <a:pt x="79395" y="0"/>
                </a:lnTo>
                <a:lnTo>
                  <a:pt x="2535843" y="0"/>
                </a:lnTo>
                <a:lnTo>
                  <a:pt x="2535843" y="2622900"/>
                </a:lnTo>
                <a:lnTo>
                  <a:pt x="198738" y="2622900"/>
                </a:lnTo>
                <a:cubicBezTo>
                  <a:pt x="741" y="2619288"/>
                  <a:pt x="0" y="2390228"/>
                  <a:pt x="0" y="2346379"/>
                </a:cubicBezTo>
                <a:lnTo>
                  <a:pt x="0" y="79395"/>
                </a:lnTo>
                <a:cubicBezTo>
                  <a:pt x="0" y="79393"/>
                  <a:pt x="1" y="79392"/>
                  <a:pt x="1" y="79390"/>
                </a:cubicBezTo>
                <a:lnTo>
                  <a:pt x="1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3" name="任意多边形 22"/>
          <p:cNvSpPr/>
          <p:nvPr userDrawn="1"/>
        </p:nvSpPr>
        <p:spPr>
          <a:xfrm flipV="1">
            <a:off x="7888622" y="0"/>
            <a:ext cx="3443006" cy="3440888"/>
          </a:xfrm>
          <a:custGeom>
            <a:avLst/>
            <a:gdLst>
              <a:gd name="connsiteX0" fmla="*/ 0 w 2515238"/>
              <a:gd name="connsiteY0" fmla="*/ 0 h 2616731"/>
              <a:gd name="connsiteX1" fmla="*/ 2241386 w 2515238"/>
              <a:gd name="connsiteY1" fmla="*/ 0 h 2616731"/>
              <a:gd name="connsiteX2" fmla="*/ 2506771 w 2515238"/>
              <a:gd name="connsiteY2" fmla="*/ 333120 h 2616731"/>
              <a:gd name="connsiteX3" fmla="*/ 2515238 w 2515238"/>
              <a:gd name="connsiteY3" fmla="*/ 2616731 h 2616731"/>
              <a:gd name="connsiteX4" fmla="*/ 0 w 2515238"/>
              <a:gd name="connsiteY4" fmla="*/ 2616731 h 2616731"/>
              <a:gd name="connsiteX5" fmla="*/ 0 w 2515238"/>
              <a:gd name="connsiteY5" fmla="*/ 0 h 2616731"/>
              <a:gd name="connsiteX0-1" fmla="*/ 0 w 2515238"/>
              <a:gd name="connsiteY0-2" fmla="*/ 0 h 2616731"/>
              <a:gd name="connsiteX1-3" fmla="*/ 2241386 w 2515238"/>
              <a:gd name="connsiteY1-4" fmla="*/ 0 h 2616731"/>
              <a:gd name="connsiteX2-5" fmla="*/ 2509092 w 2515238"/>
              <a:gd name="connsiteY2-6" fmla="*/ 333120 h 2616731"/>
              <a:gd name="connsiteX3-7" fmla="*/ 2515238 w 2515238"/>
              <a:gd name="connsiteY3-8" fmla="*/ 2616731 h 2616731"/>
              <a:gd name="connsiteX4-9" fmla="*/ 0 w 2515238"/>
              <a:gd name="connsiteY4-10" fmla="*/ 2616731 h 2616731"/>
              <a:gd name="connsiteX5-11" fmla="*/ 0 w 2515238"/>
              <a:gd name="connsiteY5-12" fmla="*/ 0 h 2616731"/>
              <a:gd name="connsiteX0-13" fmla="*/ 0 w 2515238"/>
              <a:gd name="connsiteY0-14" fmla="*/ 0 h 2616731"/>
              <a:gd name="connsiteX1-15" fmla="*/ 2241386 w 2515238"/>
              <a:gd name="connsiteY1-16" fmla="*/ 0 h 2616731"/>
              <a:gd name="connsiteX2-17" fmla="*/ 2509092 w 2515238"/>
              <a:gd name="connsiteY2-18" fmla="*/ 333120 h 2616731"/>
              <a:gd name="connsiteX3-19" fmla="*/ 2515238 w 2515238"/>
              <a:gd name="connsiteY3-20" fmla="*/ 2616731 h 2616731"/>
              <a:gd name="connsiteX4-21" fmla="*/ 0 w 2515238"/>
              <a:gd name="connsiteY4-22" fmla="*/ 2616731 h 2616731"/>
              <a:gd name="connsiteX5-23" fmla="*/ 0 w 2515238"/>
              <a:gd name="connsiteY5-24" fmla="*/ 0 h 2616731"/>
              <a:gd name="connsiteX0-25" fmla="*/ 0 w 2518941"/>
              <a:gd name="connsiteY0-26" fmla="*/ 0 h 2616731"/>
              <a:gd name="connsiteX1-27" fmla="*/ 2241386 w 2518941"/>
              <a:gd name="connsiteY1-28" fmla="*/ 0 h 2616731"/>
              <a:gd name="connsiteX2-29" fmla="*/ 2518375 w 2518941"/>
              <a:gd name="connsiteY2-30" fmla="*/ 333120 h 2616731"/>
              <a:gd name="connsiteX3-31" fmla="*/ 2515238 w 2518941"/>
              <a:gd name="connsiteY3-32" fmla="*/ 2616731 h 2616731"/>
              <a:gd name="connsiteX4-33" fmla="*/ 0 w 2518941"/>
              <a:gd name="connsiteY4-34" fmla="*/ 2616731 h 2616731"/>
              <a:gd name="connsiteX5-35" fmla="*/ 0 w 2518941"/>
              <a:gd name="connsiteY5-36" fmla="*/ 0 h 2616731"/>
              <a:gd name="connsiteX0-37" fmla="*/ 0 w 2515238"/>
              <a:gd name="connsiteY0-38" fmla="*/ 0 h 2616731"/>
              <a:gd name="connsiteX1-39" fmla="*/ 2241386 w 2515238"/>
              <a:gd name="connsiteY1-40" fmla="*/ 0 h 2616731"/>
              <a:gd name="connsiteX2-41" fmla="*/ 2511413 w 2515238"/>
              <a:gd name="connsiteY2-42" fmla="*/ 333120 h 2616731"/>
              <a:gd name="connsiteX3-43" fmla="*/ 2515238 w 2515238"/>
              <a:gd name="connsiteY3-44" fmla="*/ 2616731 h 2616731"/>
              <a:gd name="connsiteX4-45" fmla="*/ 0 w 2515238"/>
              <a:gd name="connsiteY4-46" fmla="*/ 2616731 h 2616731"/>
              <a:gd name="connsiteX5-47" fmla="*/ 0 w 2515238"/>
              <a:gd name="connsiteY5-48" fmla="*/ 0 h 2616731"/>
              <a:gd name="connsiteX0-49" fmla="*/ 0 w 2515238"/>
              <a:gd name="connsiteY0-50" fmla="*/ 0 h 2616731"/>
              <a:gd name="connsiteX1-51" fmla="*/ 2241386 w 2515238"/>
              <a:gd name="connsiteY1-52" fmla="*/ 0 h 2616731"/>
              <a:gd name="connsiteX2-53" fmla="*/ 2513734 w 2515238"/>
              <a:gd name="connsiteY2-54" fmla="*/ 333120 h 2616731"/>
              <a:gd name="connsiteX3-55" fmla="*/ 2515238 w 2515238"/>
              <a:gd name="connsiteY3-56" fmla="*/ 2616731 h 2616731"/>
              <a:gd name="connsiteX4-57" fmla="*/ 0 w 2515238"/>
              <a:gd name="connsiteY4-58" fmla="*/ 2616731 h 2616731"/>
              <a:gd name="connsiteX5-59" fmla="*/ 0 w 2515238"/>
              <a:gd name="connsiteY5-60" fmla="*/ 0 h 2616731"/>
              <a:gd name="connsiteX0-61" fmla="*/ 0 w 2521160"/>
              <a:gd name="connsiteY0-62" fmla="*/ 0 h 2616731"/>
              <a:gd name="connsiteX1-63" fmla="*/ 2241386 w 2521160"/>
              <a:gd name="connsiteY1-64" fmla="*/ 0 h 2616731"/>
              <a:gd name="connsiteX2-65" fmla="*/ 2520697 w 2521160"/>
              <a:gd name="connsiteY2-66" fmla="*/ 333120 h 2616731"/>
              <a:gd name="connsiteX3-67" fmla="*/ 2515238 w 2521160"/>
              <a:gd name="connsiteY3-68" fmla="*/ 2616731 h 2616731"/>
              <a:gd name="connsiteX4-69" fmla="*/ 0 w 2521160"/>
              <a:gd name="connsiteY4-70" fmla="*/ 2616731 h 2616731"/>
              <a:gd name="connsiteX5-71" fmla="*/ 0 w 2521160"/>
              <a:gd name="connsiteY5-72" fmla="*/ 0 h 2616731"/>
              <a:gd name="connsiteX0-73" fmla="*/ 0 w 2518942"/>
              <a:gd name="connsiteY0-74" fmla="*/ 0 h 2616731"/>
              <a:gd name="connsiteX1-75" fmla="*/ 2241386 w 2518942"/>
              <a:gd name="connsiteY1-76" fmla="*/ 0 h 2616731"/>
              <a:gd name="connsiteX2-77" fmla="*/ 2518376 w 2518942"/>
              <a:gd name="connsiteY2-78" fmla="*/ 333120 h 2616731"/>
              <a:gd name="connsiteX3-79" fmla="*/ 2515238 w 2518942"/>
              <a:gd name="connsiteY3-80" fmla="*/ 2616731 h 2616731"/>
              <a:gd name="connsiteX4-81" fmla="*/ 0 w 2518942"/>
              <a:gd name="connsiteY4-82" fmla="*/ 2616731 h 2616731"/>
              <a:gd name="connsiteX5-83" fmla="*/ 0 w 2518942"/>
              <a:gd name="connsiteY5-84" fmla="*/ 0 h 2616731"/>
              <a:gd name="connsiteX0-85" fmla="*/ 0 w 2518942"/>
              <a:gd name="connsiteY0-86" fmla="*/ 0 h 2616731"/>
              <a:gd name="connsiteX1-87" fmla="*/ 2241386 w 2518942"/>
              <a:gd name="connsiteY1-88" fmla="*/ 0 h 2616731"/>
              <a:gd name="connsiteX2-89" fmla="*/ 2518376 w 2518942"/>
              <a:gd name="connsiteY2-90" fmla="*/ 333120 h 2616731"/>
              <a:gd name="connsiteX3-91" fmla="*/ 2515238 w 2518942"/>
              <a:gd name="connsiteY3-92" fmla="*/ 2616731 h 2616731"/>
              <a:gd name="connsiteX4-93" fmla="*/ 0 w 2518942"/>
              <a:gd name="connsiteY4-94" fmla="*/ 2616731 h 2616731"/>
              <a:gd name="connsiteX5-95" fmla="*/ 0 w 2518942"/>
              <a:gd name="connsiteY5-96" fmla="*/ 0 h 2616731"/>
              <a:gd name="connsiteX0-97" fmla="*/ 0 w 2515238"/>
              <a:gd name="connsiteY0-98" fmla="*/ 0 h 2616731"/>
              <a:gd name="connsiteX1-99" fmla="*/ 2241386 w 2515238"/>
              <a:gd name="connsiteY1-100" fmla="*/ 0 h 2616731"/>
              <a:gd name="connsiteX2-101" fmla="*/ 2511414 w 2515238"/>
              <a:gd name="connsiteY2-102" fmla="*/ 333120 h 2616731"/>
              <a:gd name="connsiteX3-103" fmla="*/ 2515238 w 2515238"/>
              <a:gd name="connsiteY3-104" fmla="*/ 2616731 h 2616731"/>
              <a:gd name="connsiteX4-105" fmla="*/ 0 w 2515238"/>
              <a:gd name="connsiteY4-106" fmla="*/ 2616731 h 2616731"/>
              <a:gd name="connsiteX5-107" fmla="*/ 0 w 2515238"/>
              <a:gd name="connsiteY5-108" fmla="*/ 0 h 2616731"/>
              <a:gd name="connsiteX0-109" fmla="*/ 0 w 2515238"/>
              <a:gd name="connsiteY0-110" fmla="*/ 0 h 2616731"/>
              <a:gd name="connsiteX1-111" fmla="*/ 2241386 w 2515238"/>
              <a:gd name="connsiteY1-112" fmla="*/ 0 h 2616731"/>
              <a:gd name="connsiteX2-113" fmla="*/ 2511414 w 2515238"/>
              <a:gd name="connsiteY2-114" fmla="*/ 335534 h 2616731"/>
              <a:gd name="connsiteX3-115" fmla="*/ 2515238 w 2515238"/>
              <a:gd name="connsiteY3-116" fmla="*/ 2616731 h 2616731"/>
              <a:gd name="connsiteX4-117" fmla="*/ 0 w 2515238"/>
              <a:gd name="connsiteY4-118" fmla="*/ 2616731 h 2616731"/>
              <a:gd name="connsiteX5-119" fmla="*/ 0 w 2515238"/>
              <a:gd name="connsiteY5-120" fmla="*/ 0 h 2616731"/>
              <a:gd name="connsiteX0-121" fmla="*/ 0 w 2516786"/>
              <a:gd name="connsiteY0-122" fmla="*/ 0 h 2616731"/>
              <a:gd name="connsiteX1-123" fmla="*/ 2241386 w 2516786"/>
              <a:gd name="connsiteY1-124" fmla="*/ 0 h 2616731"/>
              <a:gd name="connsiteX2-125" fmla="*/ 2516056 w 2516786"/>
              <a:gd name="connsiteY2-126" fmla="*/ 335534 h 2616731"/>
              <a:gd name="connsiteX3-127" fmla="*/ 2515238 w 2516786"/>
              <a:gd name="connsiteY3-128" fmla="*/ 2616731 h 2616731"/>
              <a:gd name="connsiteX4-129" fmla="*/ 0 w 2516786"/>
              <a:gd name="connsiteY4-130" fmla="*/ 2616731 h 2616731"/>
              <a:gd name="connsiteX5-131" fmla="*/ 0 w 2516786"/>
              <a:gd name="connsiteY5-132" fmla="*/ 0 h 2616731"/>
              <a:gd name="connsiteX0-133" fmla="*/ 0 w 2516786"/>
              <a:gd name="connsiteY0-134" fmla="*/ 0 h 2616731"/>
              <a:gd name="connsiteX1-135" fmla="*/ 2241386 w 2516786"/>
              <a:gd name="connsiteY1-136" fmla="*/ 0 h 2616731"/>
              <a:gd name="connsiteX2-137" fmla="*/ 2516056 w 2516786"/>
              <a:gd name="connsiteY2-138" fmla="*/ 335534 h 2616731"/>
              <a:gd name="connsiteX3-139" fmla="*/ 2515238 w 2516786"/>
              <a:gd name="connsiteY3-140" fmla="*/ 2616731 h 2616731"/>
              <a:gd name="connsiteX4-141" fmla="*/ 0 w 2516786"/>
              <a:gd name="connsiteY4-142" fmla="*/ 2616731 h 2616731"/>
              <a:gd name="connsiteX5-143" fmla="*/ 0 w 2516786"/>
              <a:gd name="connsiteY5-144" fmla="*/ 0 h 261673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16786" h="2616731">
                <a:moveTo>
                  <a:pt x="0" y="0"/>
                </a:moveTo>
                <a:lnTo>
                  <a:pt x="2241386" y="0"/>
                </a:lnTo>
                <a:cubicBezTo>
                  <a:pt x="2481475" y="0"/>
                  <a:pt x="2514315" y="99067"/>
                  <a:pt x="2516056" y="335534"/>
                </a:cubicBezTo>
                <a:cubicBezTo>
                  <a:pt x="2518878" y="1096738"/>
                  <a:pt x="2512416" y="1855527"/>
                  <a:pt x="2515238" y="2616731"/>
                </a:cubicBezTo>
                <a:lnTo>
                  <a:pt x="0" y="2616731"/>
                </a:lnTo>
                <a:lnTo>
                  <a:pt x="0" y="0"/>
                </a:lnTo>
                <a:close/>
              </a:path>
            </a:pathLst>
          </a:custGeom>
          <a:solidFill>
            <a:srgbClr val="005B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65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文本占位符 5"/>
          <p:cNvSpPr>
            <a:spLocks noGrp="1"/>
          </p:cNvSpPr>
          <p:nvPr>
            <p:ph type="body" sz="quarter" idx="14" hasCustomPrompt="1"/>
          </p:nvPr>
        </p:nvSpPr>
        <p:spPr>
          <a:xfrm>
            <a:off x="855662" y="3757939"/>
            <a:ext cx="858043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6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6pt </a:t>
            </a:r>
            <a:r>
              <a:rPr lang="zh-CN" altLang="en-US" dirty="0"/>
              <a:t>加粗</a:t>
            </a:r>
            <a:r>
              <a:rPr lang="en-US" altLang="zh-CN" dirty="0"/>
              <a:t> </a:t>
            </a:r>
            <a:endParaRPr lang="zh-CN" altLang="en-US" dirty="0"/>
          </a:p>
        </p:txBody>
      </p:sp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7369" y="5984177"/>
            <a:ext cx="1534187" cy="498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分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9"/>
          <p:cNvSpPr>
            <a:spLocks noGrp="1"/>
          </p:cNvSpPr>
          <p:nvPr>
            <p:ph type="body" sz="quarter" idx="10" hasCustomPrompt="1"/>
          </p:nvPr>
        </p:nvSpPr>
        <p:spPr>
          <a:xfrm>
            <a:off x="2972329" y="2789784"/>
            <a:ext cx="8305271" cy="127843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600" b="1">
                <a:solidFill>
                  <a:srgbClr val="005BAC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 36pt </a:t>
            </a:r>
            <a:r>
              <a:rPr lang="zh-CN" altLang="en-US" dirty="0"/>
              <a:t>加粗</a:t>
            </a:r>
          </a:p>
        </p:txBody>
      </p:sp>
      <p:grpSp>
        <p:nvGrpSpPr>
          <p:cNvPr id="4" name="组合 3"/>
          <p:cNvGrpSpPr/>
          <p:nvPr userDrawn="1"/>
        </p:nvGrpSpPr>
        <p:grpSpPr>
          <a:xfrm flipH="1">
            <a:off x="795943" y="1830878"/>
            <a:ext cx="1571106" cy="3196245"/>
            <a:chOff x="795943" y="1234670"/>
            <a:chExt cx="1571106" cy="3196245"/>
          </a:xfrm>
        </p:grpSpPr>
        <p:sp>
          <p:nvSpPr>
            <p:cNvPr id="5" name="单圆角矩形 4"/>
            <p:cNvSpPr/>
            <p:nvPr userDrawn="1"/>
          </p:nvSpPr>
          <p:spPr>
            <a:xfrm flipH="1">
              <a:off x="795943" y="1234670"/>
              <a:ext cx="1571106" cy="1571106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单圆角矩形 5"/>
            <p:cNvSpPr/>
            <p:nvPr userDrawn="1"/>
          </p:nvSpPr>
          <p:spPr>
            <a:xfrm flipH="1" flipV="1">
              <a:off x="795943" y="2859809"/>
              <a:ext cx="1571106" cy="1571106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1764000"/>
            <a:ext cx="10210271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1764000"/>
            <a:ext cx="10210271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  <a:p>
            <a:pPr lvl="0"/>
            <a:endParaRPr lang="en-US" altLang="zh-CN" dirty="0"/>
          </a:p>
        </p:txBody>
      </p:sp>
      <p:sp>
        <p:nvSpPr>
          <p:cNvPr id="11" name="矩形 10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正文页 两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矩形 12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1" y="1764000"/>
            <a:ext cx="4823886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16" hasCustomPrompt="1"/>
          </p:nvPr>
        </p:nvSpPr>
        <p:spPr>
          <a:xfrm>
            <a:off x="5894385" y="1764000"/>
            <a:ext cx="4963886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-左图右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2" name="矩形 11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20" name="文本占位符 11"/>
          <p:cNvSpPr>
            <a:spLocks noGrp="1"/>
          </p:cNvSpPr>
          <p:nvPr>
            <p:ph type="body" sz="quarter" idx="23" hasCustomPrompt="1"/>
          </p:nvPr>
        </p:nvSpPr>
        <p:spPr>
          <a:xfrm>
            <a:off x="648000" y="1764000"/>
            <a:ext cx="5854400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8" name="图片占位符 7"/>
          <p:cNvSpPr>
            <a:spLocks noGrp="1" noChangeAspect="1"/>
          </p:cNvSpPr>
          <p:nvPr>
            <p:ph type="pic" sz="quarter" idx="24"/>
          </p:nvPr>
        </p:nvSpPr>
        <p:spPr>
          <a:xfrm>
            <a:off x="6923471" y="1764000"/>
            <a:ext cx="3934800" cy="3934800"/>
          </a:xfrm>
          <a:prstGeom prst="round1Rect">
            <a:avLst>
              <a:gd name="adj" fmla="val 6056"/>
            </a:avLst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-左字右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2" name="矩形 11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9" name="文本占位符 11"/>
          <p:cNvSpPr>
            <a:spLocks noGrp="1"/>
          </p:cNvSpPr>
          <p:nvPr>
            <p:ph type="body" sz="quarter" idx="22" hasCustomPrompt="1"/>
          </p:nvPr>
        </p:nvSpPr>
        <p:spPr>
          <a:xfrm>
            <a:off x="4992913" y="1764000"/>
            <a:ext cx="5865357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22" name="图片占位符 18"/>
          <p:cNvSpPr>
            <a:spLocks noGrp="1" noChangeAspect="1"/>
          </p:cNvSpPr>
          <p:nvPr>
            <p:ph type="pic" sz="quarter" idx="27"/>
          </p:nvPr>
        </p:nvSpPr>
        <p:spPr>
          <a:xfrm>
            <a:off x="648000" y="1764000"/>
            <a:ext cx="3935455" cy="3934800"/>
          </a:xfrm>
          <a:custGeom>
            <a:avLst/>
            <a:gdLst>
              <a:gd name="connsiteX0" fmla="*/ 246590 w 3365500"/>
              <a:gd name="connsiteY0" fmla="*/ 0 h 3365500"/>
              <a:gd name="connsiteX1" fmla="*/ 3118910 w 3365500"/>
              <a:gd name="connsiteY1" fmla="*/ 0 h 3365500"/>
              <a:gd name="connsiteX2" fmla="*/ 3365500 w 3365500"/>
              <a:gd name="connsiteY2" fmla="*/ 246590 h 3365500"/>
              <a:gd name="connsiteX3" fmla="*/ 3365500 w 3365500"/>
              <a:gd name="connsiteY3" fmla="*/ 3365500 h 3365500"/>
              <a:gd name="connsiteX4" fmla="*/ 3365500 w 3365500"/>
              <a:gd name="connsiteY4" fmla="*/ 3365500 h 3365500"/>
              <a:gd name="connsiteX5" fmla="*/ 0 w 3365500"/>
              <a:gd name="connsiteY5" fmla="*/ 3365500 h 3365500"/>
              <a:gd name="connsiteX6" fmla="*/ 0 w 3365500"/>
              <a:gd name="connsiteY6" fmla="*/ 3365500 h 3365500"/>
              <a:gd name="connsiteX7" fmla="*/ 0 w 3365500"/>
              <a:gd name="connsiteY7" fmla="*/ 246590 h 3365500"/>
              <a:gd name="connsiteX8" fmla="*/ 246590 w 3365500"/>
              <a:gd name="connsiteY8" fmla="*/ 0 h 3365500"/>
              <a:gd name="connsiteX0-1" fmla="*/ 246590 w 3400346"/>
              <a:gd name="connsiteY0-2" fmla="*/ 0 h 3365500"/>
              <a:gd name="connsiteX1-3" fmla="*/ 3328460 w 3400346"/>
              <a:gd name="connsiteY1-4" fmla="*/ 0 h 3365500"/>
              <a:gd name="connsiteX2-5" fmla="*/ 3365500 w 3400346"/>
              <a:gd name="connsiteY2-6" fmla="*/ 246590 h 3365500"/>
              <a:gd name="connsiteX3-7" fmla="*/ 3365500 w 3400346"/>
              <a:gd name="connsiteY3-8" fmla="*/ 3365500 h 3365500"/>
              <a:gd name="connsiteX4-9" fmla="*/ 3365500 w 3400346"/>
              <a:gd name="connsiteY4-10" fmla="*/ 3365500 h 3365500"/>
              <a:gd name="connsiteX5-11" fmla="*/ 0 w 3400346"/>
              <a:gd name="connsiteY5-12" fmla="*/ 3365500 h 3365500"/>
              <a:gd name="connsiteX6-13" fmla="*/ 0 w 3400346"/>
              <a:gd name="connsiteY6-14" fmla="*/ 3365500 h 3365500"/>
              <a:gd name="connsiteX7-15" fmla="*/ 0 w 3400346"/>
              <a:gd name="connsiteY7-16" fmla="*/ 246590 h 3365500"/>
              <a:gd name="connsiteX8-17" fmla="*/ 246590 w 3400346"/>
              <a:gd name="connsiteY8-18" fmla="*/ 0 h 3365500"/>
              <a:gd name="connsiteX0-19" fmla="*/ 246590 w 3413081"/>
              <a:gd name="connsiteY0-20" fmla="*/ 0 h 3365500"/>
              <a:gd name="connsiteX1-21" fmla="*/ 3347510 w 3413081"/>
              <a:gd name="connsiteY1-22" fmla="*/ 0 h 3365500"/>
              <a:gd name="connsiteX2-23" fmla="*/ 3365500 w 3413081"/>
              <a:gd name="connsiteY2-24" fmla="*/ 246590 h 3365500"/>
              <a:gd name="connsiteX3-25" fmla="*/ 3365500 w 3413081"/>
              <a:gd name="connsiteY3-26" fmla="*/ 3365500 h 3365500"/>
              <a:gd name="connsiteX4-27" fmla="*/ 3365500 w 3413081"/>
              <a:gd name="connsiteY4-28" fmla="*/ 3365500 h 3365500"/>
              <a:gd name="connsiteX5-29" fmla="*/ 0 w 3413081"/>
              <a:gd name="connsiteY5-30" fmla="*/ 3365500 h 3365500"/>
              <a:gd name="connsiteX6-31" fmla="*/ 0 w 3413081"/>
              <a:gd name="connsiteY6-32" fmla="*/ 3365500 h 3365500"/>
              <a:gd name="connsiteX7-33" fmla="*/ 0 w 3413081"/>
              <a:gd name="connsiteY7-34" fmla="*/ 246590 h 3365500"/>
              <a:gd name="connsiteX8-35" fmla="*/ 246590 w 3413081"/>
              <a:gd name="connsiteY8-36" fmla="*/ 0 h 3365500"/>
              <a:gd name="connsiteX0-37" fmla="*/ 246590 w 3419838"/>
              <a:gd name="connsiteY0-38" fmla="*/ 0 h 3365500"/>
              <a:gd name="connsiteX1-39" fmla="*/ 3357035 w 3419838"/>
              <a:gd name="connsiteY1-40" fmla="*/ 0 h 3365500"/>
              <a:gd name="connsiteX2-41" fmla="*/ 3365500 w 3419838"/>
              <a:gd name="connsiteY2-42" fmla="*/ 246590 h 3365500"/>
              <a:gd name="connsiteX3-43" fmla="*/ 3365500 w 3419838"/>
              <a:gd name="connsiteY3-44" fmla="*/ 3365500 h 3365500"/>
              <a:gd name="connsiteX4-45" fmla="*/ 3365500 w 3419838"/>
              <a:gd name="connsiteY4-46" fmla="*/ 3365500 h 3365500"/>
              <a:gd name="connsiteX5-47" fmla="*/ 0 w 3419838"/>
              <a:gd name="connsiteY5-48" fmla="*/ 3365500 h 3365500"/>
              <a:gd name="connsiteX6-49" fmla="*/ 0 w 3419838"/>
              <a:gd name="connsiteY6-50" fmla="*/ 3365500 h 3365500"/>
              <a:gd name="connsiteX7-51" fmla="*/ 0 w 3419838"/>
              <a:gd name="connsiteY7-52" fmla="*/ 246590 h 3365500"/>
              <a:gd name="connsiteX8-53" fmla="*/ 246590 w 3419838"/>
              <a:gd name="connsiteY8-54" fmla="*/ 0 h 3365500"/>
              <a:gd name="connsiteX0-55" fmla="*/ 246590 w 3426814"/>
              <a:gd name="connsiteY0-56" fmla="*/ 0 h 3365500"/>
              <a:gd name="connsiteX1-57" fmla="*/ 3366560 w 3426814"/>
              <a:gd name="connsiteY1-58" fmla="*/ 0 h 3365500"/>
              <a:gd name="connsiteX2-59" fmla="*/ 3365500 w 3426814"/>
              <a:gd name="connsiteY2-60" fmla="*/ 246590 h 3365500"/>
              <a:gd name="connsiteX3-61" fmla="*/ 3365500 w 3426814"/>
              <a:gd name="connsiteY3-62" fmla="*/ 3365500 h 3365500"/>
              <a:gd name="connsiteX4-63" fmla="*/ 3365500 w 3426814"/>
              <a:gd name="connsiteY4-64" fmla="*/ 3365500 h 3365500"/>
              <a:gd name="connsiteX5-65" fmla="*/ 0 w 3426814"/>
              <a:gd name="connsiteY5-66" fmla="*/ 3365500 h 3365500"/>
              <a:gd name="connsiteX6-67" fmla="*/ 0 w 3426814"/>
              <a:gd name="connsiteY6-68" fmla="*/ 3365500 h 3365500"/>
              <a:gd name="connsiteX7-69" fmla="*/ 0 w 3426814"/>
              <a:gd name="connsiteY7-70" fmla="*/ 246590 h 3365500"/>
              <a:gd name="connsiteX8-71" fmla="*/ 246590 w 3426814"/>
              <a:gd name="connsiteY8-72" fmla="*/ 0 h 3365500"/>
              <a:gd name="connsiteX0-73" fmla="*/ 246590 w 3426814"/>
              <a:gd name="connsiteY0-74" fmla="*/ 0 h 3365500"/>
              <a:gd name="connsiteX1-75" fmla="*/ 3366560 w 3426814"/>
              <a:gd name="connsiteY1-76" fmla="*/ 0 h 3365500"/>
              <a:gd name="connsiteX2-77" fmla="*/ 3365500 w 3426814"/>
              <a:gd name="connsiteY2-78" fmla="*/ 246590 h 3365500"/>
              <a:gd name="connsiteX3-79" fmla="*/ 3367087 w 3426814"/>
              <a:gd name="connsiteY3-80" fmla="*/ 427037 h 3365500"/>
              <a:gd name="connsiteX4-81" fmla="*/ 3365500 w 3426814"/>
              <a:gd name="connsiteY4-82" fmla="*/ 3365500 h 3365500"/>
              <a:gd name="connsiteX5-83" fmla="*/ 3365500 w 3426814"/>
              <a:gd name="connsiteY5-84" fmla="*/ 3365500 h 3365500"/>
              <a:gd name="connsiteX6-85" fmla="*/ 0 w 3426814"/>
              <a:gd name="connsiteY6-86" fmla="*/ 3365500 h 3365500"/>
              <a:gd name="connsiteX7-87" fmla="*/ 0 w 3426814"/>
              <a:gd name="connsiteY7-88" fmla="*/ 3365500 h 3365500"/>
              <a:gd name="connsiteX8-89" fmla="*/ 0 w 3426814"/>
              <a:gd name="connsiteY8-90" fmla="*/ 246590 h 3365500"/>
              <a:gd name="connsiteX9" fmla="*/ 246590 w 3426814"/>
              <a:gd name="connsiteY9" fmla="*/ 0 h 3365500"/>
              <a:gd name="connsiteX0-91" fmla="*/ 246590 w 3599479"/>
              <a:gd name="connsiteY0-92" fmla="*/ 15825 h 3381325"/>
              <a:gd name="connsiteX1-93" fmla="*/ 3366560 w 3599479"/>
              <a:gd name="connsiteY1-94" fmla="*/ 15825 h 3381325"/>
              <a:gd name="connsiteX2-95" fmla="*/ 3371849 w 3599479"/>
              <a:gd name="connsiteY2-96" fmla="*/ 19000 h 3381325"/>
              <a:gd name="connsiteX3-97" fmla="*/ 3365500 w 3599479"/>
              <a:gd name="connsiteY3-98" fmla="*/ 262415 h 3381325"/>
              <a:gd name="connsiteX4-99" fmla="*/ 3367087 w 3599479"/>
              <a:gd name="connsiteY4-100" fmla="*/ 442862 h 3381325"/>
              <a:gd name="connsiteX5-101" fmla="*/ 3365500 w 3599479"/>
              <a:gd name="connsiteY5-102" fmla="*/ 3381325 h 3381325"/>
              <a:gd name="connsiteX6-103" fmla="*/ 3365500 w 3599479"/>
              <a:gd name="connsiteY6-104" fmla="*/ 3381325 h 3381325"/>
              <a:gd name="connsiteX7-105" fmla="*/ 0 w 3599479"/>
              <a:gd name="connsiteY7-106" fmla="*/ 3381325 h 3381325"/>
              <a:gd name="connsiteX8-107" fmla="*/ 0 w 3599479"/>
              <a:gd name="connsiteY8-108" fmla="*/ 3381325 h 3381325"/>
              <a:gd name="connsiteX9-109" fmla="*/ 0 w 3599479"/>
              <a:gd name="connsiteY9-110" fmla="*/ 262415 h 3381325"/>
              <a:gd name="connsiteX10" fmla="*/ 246590 w 3599479"/>
              <a:gd name="connsiteY10" fmla="*/ 15825 h 3381325"/>
              <a:gd name="connsiteX0-111" fmla="*/ 246590 w 3599419"/>
              <a:gd name="connsiteY0-112" fmla="*/ 29179 h 3394679"/>
              <a:gd name="connsiteX1-113" fmla="*/ 3366560 w 3599419"/>
              <a:gd name="connsiteY1-114" fmla="*/ 29179 h 3394679"/>
              <a:gd name="connsiteX2-115" fmla="*/ 3371849 w 3599419"/>
              <a:gd name="connsiteY2-116" fmla="*/ 32354 h 3394679"/>
              <a:gd name="connsiteX3-117" fmla="*/ 3367087 w 3599419"/>
              <a:gd name="connsiteY3-118" fmla="*/ 456216 h 3394679"/>
              <a:gd name="connsiteX4-119" fmla="*/ 3365500 w 3599419"/>
              <a:gd name="connsiteY4-120" fmla="*/ 3394679 h 3394679"/>
              <a:gd name="connsiteX5-121" fmla="*/ 3365500 w 3599419"/>
              <a:gd name="connsiteY5-122" fmla="*/ 3394679 h 3394679"/>
              <a:gd name="connsiteX6-123" fmla="*/ 0 w 3599419"/>
              <a:gd name="connsiteY6-124" fmla="*/ 3394679 h 3394679"/>
              <a:gd name="connsiteX7-125" fmla="*/ 0 w 3599419"/>
              <a:gd name="connsiteY7-126" fmla="*/ 3394679 h 3394679"/>
              <a:gd name="connsiteX8-127" fmla="*/ 0 w 3599419"/>
              <a:gd name="connsiteY8-128" fmla="*/ 275769 h 3394679"/>
              <a:gd name="connsiteX9-129" fmla="*/ 246590 w 3599419"/>
              <a:gd name="connsiteY9-130" fmla="*/ 29179 h 3394679"/>
              <a:gd name="connsiteX0-131" fmla="*/ 246590 w 3597884"/>
              <a:gd name="connsiteY0-132" fmla="*/ 0 h 3365500"/>
              <a:gd name="connsiteX1-133" fmla="*/ 3366560 w 3597884"/>
              <a:gd name="connsiteY1-134" fmla="*/ 0 h 3365500"/>
              <a:gd name="connsiteX2-135" fmla="*/ 3367087 w 3597884"/>
              <a:gd name="connsiteY2-136" fmla="*/ 427037 h 3365500"/>
              <a:gd name="connsiteX3-137" fmla="*/ 3365500 w 3597884"/>
              <a:gd name="connsiteY3-138" fmla="*/ 3365500 h 3365500"/>
              <a:gd name="connsiteX4-139" fmla="*/ 3365500 w 3597884"/>
              <a:gd name="connsiteY4-140" fmla="*/ 3365500 h 3365500"/>
              <a:gd name="connsiteX5-141" fmla="*/ 0 w 3597884"/>
              <a:gd name="connsiteY5-142" fmla="*/ 3365500 h 3365500"/>
              <a:gd name="connsiteX6-143" fmla="*/ 0 w 3597884"/>
              <a:gd name="connsiteY6-144" fmla="*/ 3365500 h 3365500"/>
              <a:gd name="connsiteX7-145" fmla="*/ 0 w 3597884"/>
              <a:gd name="connsiteY7-146" fmla="*/ 246590 h 3365500"/>
              <a:gd name="connsiteX8-147" fmla="*/ 246590 w 3597884"/>
              <a:gd name="connsiteY8-148" fmla="*/ 0 h 3365500"/>
              <a:gd name="connsiteX0-149" fmla="*/ 246590 w 3377753"/>
              <a:gd name="connsiteY0-150" fmla="*/ 16210 h 3381710"/>
              <a:gd name="connsiteX1-151" fmla="*/ 3366560 w 3377753"/>
              <a:gd name="connsiteY1-152" fmla="*/ 16210 h 3381710"/>
              <a:gd name="connsiteX2-153" fmla="*/ 3367087 w 3377753"/>
              <a:gd name="connsiteY2-154" fmla="*/ 443247 h 3381710"/>
              <a:gd name="connsiteX3-155" fmla="*/ 3365500 w 3377753"/>
              <a:gd name="connsiteY3-156" fmla="*/ 3381710 h 3381710"/>
              <a:gd name="connsiteX4-157" fmla="*/ 3365500 w 3377753"/>
              <a:gd name="connsiteY4-158" fmla="*/ 3381710 h 3381710"/>
              <a:gd name="connsiteX5-159" fmla="*/ 0 w 3377753"/>
              <a:gd name="connsiteY5-160" fmla="*/ 3381710 h 3381710"/>
              <a:gd name="connsiteX6-161" fmla="*/ 0 w 3377753"/>
              <a:gd name="connsiteY6-162" fmla="*/ 3381710 h 3381710"/>
              <a:gd name="connsiteX7-163" fmla="*/ 0 w 3377753"/>
              <a:gd name="connsiteY7-164" fmla="*/ 262800 h 3381710"/>
              <a:gd name="connsiteX8-165" fmla="*/ 246590 w 3377753"/>
              <a:gd name="connsiteY8-166" fmla="*/ 16210 h 3381710"/>
              <a:gd name="connsiteX0-167" fmla="*/ 246590 w 3367127"/>
              <a:gd name="connsiteY0-168" fmla="*/ 0 h 3365500"/>
              <a:gd name="connsiteX1-169" fmla="*/ 3366560 w 3367127"/>
              <a:gd name="connsiteY1-170" fmla="*/ 0 h 3365500"/>
              <a:gd name="connsiteX2-171" fmla="*/ 3367087 w 3367127"/>
              <a:gd name="connsiteY2-172" fmla="*/ 427037 h 3365500"/>
              <a:gd name="connsiteX3-173" fmla="*/ 3365500 w 3367127"/>
              <a:gd name="connsiteY3-174" fmla="*/ 3365500 h 3365500"/>
              <a:gd name="connsiteX4-175" fmla="*/ 3365500 w 3367127"/>
              <a:gd name="connsiteY4-176" fmla="*/ 3365500 h 3365500"/>
              <a:gd name="connsiteX5-177" fmla="*/ 0 w 3367127"/>
              <a:gd name="connsiteY5-178" fmla="*/ 3365500 h 3365500"/>
              <a:gd name="connsiteX6-179" fmla="*/ 0 w 3367127"/>
              <a:gd name="connsiteY6-180" fmla="*/ 3365500 h 3365500"/>
              <a:gd name="connsiteX7-181" fmla="*/ 0 w 3367127"/>
              <a:gd name="connsiteY7-182" fmla="*/ 246590 h 3365500"/>
              <a:gd name="connsiteX8-183" fmla="*/ 246590 w 3367127"/>
              <a:gd name="connsiteY8-184" fmla="*/ 0 h 3365500"/>
              <a:gd name="connsiteX0-185" fmla="*/ 246590 w 3367127"/>
              <a:gd name="connsiteY0-186" fmla="*/ 0 h 3365500"/>
              <a:gd name="connsiteX1-187" fmla="*/ 3366560 w 3367127"/>
              <a:gd name="connsiteY1-188" fmla="*/ 0 h 3365500"/>
              <a:gd name="connsiteX2-189" fmla="*/ 3367087 w 3367127"/>
              <a:gd name="connsiteY2-190" fmla="*/ 427037 h 3365500"/>
              <a:gd name="connsiteX3-191" fmla="*/ 3365500 w 3367127"/>
              <a:gd name="connsiteY3-192" fmla="*/ 3365500 h 3365500"/>
              <a:gd name="connsiteX4-193" fmla="*/ 3365500 w 3367127"/>
              <a:gd name="connsiteY4-194" fmla="*/ 3365500 h 3365500"/>
              <a:gd name="connsiteX5-195" fmla="*/ 0 w 3367127"/>
              <a:gd name="connsiteY5-196" fmla="*/ 3365500 h 3365500"/>
              <a:gd name="connsiteX6-197" fmla="*/ 0 w 3367127"/>
              <a:gd name="connsiteY6-198" fmla="*/ 3365500 h 3365500"/>
              <a:gd name="connsiteX7-199" fmla="*/ 0 w 3367127"/>
              <a:gd name="connsiteY7-200" fmla="*/ 246590 h 3365500"/>
              <a:gd name="connsiteX8-201" fmla="*/ 246590 w 3367127"/>
              <a:gd name="connsiteY8-202" fmla="*/ 0 h 3365500"/>
              <a:gd name="connsiteX0-203" fmla="*/ 246590 w 3597354"/>
              <a:gd name="connsiteY0-204" fmla="*/ 0 h 3365500"/>
              <a:gd name="connsiteX1-205" fmla="*/ 3366560 w 3597354"/>
              <a:gd name="connsiteY1-206" fmla="*/ 0 h 3365500"/>
              <a:gd name="connsiteX2-207" fmla="*/ 3365500 w 3597354"/>
              <a:gd name="connsiteY2-208" fmla="*/ 3365500 h 3365500"/>
              <a:gd name="connsiteX3-209" fmla="*/ 3365500 w 3597354"/>
              <a:gd name="connsiteY3-210" fmla="*/ 3365500 h 3365500"/>
              <a:gd name="connsiteX4-211" fmla="*/ 0 w 3597354"/>
              <a:gd name="connsiteY4-212" fmla="*/ 3365500 h 3365500"/>
              <a:gd name="connsiteX5-213" fmla="*/ 0 w 3597354"/>
              <a:gd name="connsiteY5-214" fmla="*/ 3365500 h 3365500"/>
              <a:gd name="connsiteX6-215" fmla="*/ 0 w 3597354"/>
              <a:gd name="connsiteY6-216" fmla="*/ 246590 h 3365500"/>
              <a:gd name="connsiteX7-217" fmla="*/ 246590 w 3597354"/>
              <a:gd name="connsiteY7-218" fmla="*/ 0 h 3365500"/>
              <a:gd name="connsiteX0-219" fmla="*/ 246590 w 3367119"/>
              <a:gd name="connsiteY0-220" fmla="*/ 0 h 3365500"/>
              <a:gd name="connsiteX1-221" fmla="*/ 3366560 w 3367119"/>
              <a:gd name="connsiteY1-222" fmla="*/ 0 h 3365500"/>
              <a:gd name="connsiteX2-223" fmla="*/ 3365500 w 3367119"/>
              <a:gd name="connsiteY2-224" fmla="*/ 3365500 h 3365500"/>
              <a:gd name="connsiteX3-225" fmla="*/ 3365500 w 3367119"/>
              <a:gd name="connsiteY3-226" fmla="*/ 3365500 h 3365500"/>
              <a:gd name="connsiteX4-227" fmla="*/ 0 w 3367119"/>
              <a:gd name="connsiteY4-228" fmla="*/ 3365500 h 3365500"/>
              <a:gd name="connsiteX5-229" fmla="*/ 0 w 3367119"/>
              <a:gd name="connsiteY5-230" fmla="*/ 3365500 h 3365500"/>
              <a:gd name="connsiteX6-231" fmla="*/ 0 w 3367119"/>
              <a:gd name="connsiteY6-232" fmla="*/ 246590 h 3365500"/>
              <a:gd name="connsiteX7-233" fmla="*/ 246590 w 3367119"/>
              <a:gd name="connsiteY7-234" fmla="*/ 0 h 3365500"/>
              <a:gd name="connsiteX0-235" fmla="*/ 246590 w 3366560"/>
              <a:gd name="connsiteY0-236" fmla="*/ 0 h 3365500"/>
              <a:gd name="connsiteX1-237" fmla="*/ 3366560 w 3366560"/>
              <a:gd name="connsiteY1-238" fmla="*/ 0 h 3365500"/>
              <a:gd name="connsiteX2-239" fmla="*/ 3365500 w 3366560"/>
              <a:gd name="connsiteY2-240" fmla="*/ 3365500 h 3365500"/>
              <a:gd name="connsiteX3-241" fmla="*/ 3365500 w 3366560"/>
              <a:gd name="connsiteY3-242" fmla="*/ 3365500 h 3365500"/>
              <a:gd name="connsiteX4-243" fmla="*/ 0 w 3366560"/>
              <a:gd name="connsiteY4-244" fmla="*/ 3365500 h 3365500"/>
              <a:gd name="connsiteX5-245" fmla="*/ 0 w 3366560"/>
              <a:gd name="connsiteY5-246" fmla="*/ 3365500 h 3365500"/>
              <a:gd name="connsiteX6-247" fmla="*/ 0 w 3366560"/>
              <a:gd name="connsiteY6-248" fmla="*/ 246590 h 3365500"/>
              <a:gd name="connsiteX7-249" fmla="*/ 246590 w 3366560"/>
              <a:gd name="connsiteY7-250" fmla="*/ 0 h 33655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</a:cxnLst>
            <a:rect l="l" t="t" r="r" b="b"/>
            <a:pathLst>
              <a:path w="3366560" h="3365500">
                <a:moveTo>
                  <a:pt x="246590" y="0"/>
                </a:moveTo>
                <a:lnTo>
                  <a:pt x="3366560" y="0"/>
                </a:lnTo>
                <a:cubicBezTo>
                  <a:pt x="3363456" y="57044"/>
                  <a:pt x="3365677" y="2804583"/>
                  <a:pt x="3365500" y="3365500"/>
                </a:cubicBezTo>
                <a:lnTo>
                  <a:pt x="3365500" y="3365500"/>
                </a:lnTo>
                <a:lnTo>
                  <a:pt x="0" y="3365500"/>
                </a:lnTo>
                <a:lnTo>
                  <a:pt x="0" y="3365500"/>
                </a:lnTo>
                <a:lnTo>
                  <a:pt x="0" y="246590"/>
                </a:lnTo>
                <a:cubicBezTo>
                  <a:pt x="0" y="110402"/>
                  <a:pt x="110402" y="0"/>
                  <a:pt x="246590" y="0"/>
                </a:cubicBezTo>
                <a:close/>
              </a:path>
            </a:pathLst>
          </a:cu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-左图右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2" name="矩形 11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20" name="文本占位符 11"/>
          <p:cNvSpPr>
            <a:spLocks noGrp="1"/>
          </p:cNvSpPr>
          <p:nvPr>
            <p:ph type="body" sz="quarter" idx="23" hasCustomPrompt="1"/>
          </p:nvPr>
        </p:nvSpPr>
        <p:spPr>
          <a:xfrm>
            <a:off x="648000" y="1764000"/>
            <a:ext cx="5854400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8" name="图片占位符 7"/>
          <p:cNvSpPr>
            <a:spLocks noGrp="1" noChangeAspect="1"/>
          </p:cNvSpPr>
          <p:nvPr>
            <p:ph type="pic" sz="quarter" idx="24"/>
          </p:nvPr>
        </p:nvSpPr>
        <p:spPr>
          <a:xfrm>
            <a:off x="6923471" y="1764000"/>
            <a:ext cx="3934800" cy="3934800"/>
          </a:xfrm>
          <a:prstGeom prst="round1Rect">
            <a:avLst>
              <a:gd name="adj" fmla="val 6056"/>
            </a:avLst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栏-三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图片占位符 16"/>
          <p:cNvSpPr>
            <a:spLocks noGrp="1"/>
          </p:cNvSpPr>
          <p:nvPr>
            <p:ph type="pic" sz="quarter" idx="26"/>
          </p:nvPr>
        </p:nvSpPr>
        <p:spPr>
          <a:xfrm>
            <a:off x="7492771" y="1763713"/>
            <a:ext cx="3365500" cy="3365500"/>
          </a:xfrm>
          <a:prstGeom prst="round1Rect">
            <a:avLst>
              <a:gd name="adj" fmla="val 6761"/>
            </a:avLst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矩形 12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3" name="图片占位符 2"/>
          <p:cNvSpPr>
            <a:spLocks noGrp="1"/>
          </p:cNvSpPr>
          <p:nvPr>
            <p:ph type="pic" sz="quarter" idx="25"/>
          </p:nvPr>
        </p:nvSpPr>
        <p:spPr>
          <a:xfrm>
            <a:off x="4070516" y="1764000"/>
            <a:ext cx="3366000" cy="3366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19" name="图片占位符 18"/>
          <p:cNvSpPr>
            <a:spLocks noGrp="1"/>
          </p:cNvSpPr>
          <p:nvPr>
            <p:ph type="pic" sz="quarter" idx="27"/>
          </p:nvPr>
        </p:nvSpPr>
        <p:spPr>
          <a:xfrm>
            <a:off x="647700" y="1763713"/>
            <a:ext cx="3366560" cy="3365500"/>
          </a:xfrm>
          <a:custGeom>
            <a:avLst/>
            <a:gdLst>
              <a:gd name="connsiteX0" fmla="*/ 246590 w 3365500"/>
              <a:gd name="connsiteY0" fmla="*/ 0 h 3365500"/>
              <a:gd name="connsiteX1" fmla="*/ 3118910 w 3365500"/>
              <a:gd name="connsiteY1" fmla="*/ 0 h 3365500"/>
              <a:gd name="connsiteX2" fmla="*/ 3365500 w 3365500"/>
              <a:gd name="connsiteY2" fmla="*/ 246590 h 3365500"/>
              <a:gd name="connsiteX3" fmla="*/ 3365500 w 3365500"/>
              <a:gd name="connsiteY3" fmla="*/ 3365500 h 3365500"/>
              <a:gd name="connsiteX4" fmla="*/ 3365500 w 3365500"/>
              <a:gd name="connsiteY4" fmla="*/ 3365500 h 3365500"/>
              <a:gd name="connsiteX5" fmla="*/ 0 w 3365500"/>
              <a:gd name="connsiteY5" fmla="*/ 3365500 h 3365500"/>
              <a:gd name="connsiteX6" fmla="*/ 0 w 3365500"/>
              <a:gd name="connsiteY6" fmla="*/ 3365500 h 3365500"/>
              <a:gd name="connsiteX7" fmla="*/ 0 w 3365500"/>
              <a:gd name="connsiteY7" fmla="*/ 246590 h 3365500"/>
              <a:gd name="connsiteX8" fmla="*/ 246590 w 3365500"/>
              <a:gd name="connsiteY8" fmla="*/ 0 h 3365500"/>
              <a:gd name="connsiteX0-1" fmla="*/ 246590 w 3400346"/>
              <a:gd name="connsiteY0-2" fmla="*/ 0 h 3365500"/>
              <a:gd name="connsiteX1-3" fmla="*/ 3328460 w 3400346"/>
              <a:gd name="connsiteY1-4" fmla="*/ 0 h 3365500"/>
              <a:gd name="connsiteX2-5" fmla="*/ 3365500 w 3400346"/>
              <a:gd name="connsiteY2-6" fmla="*/ 246590 h 3365500"/>
              <a:gd name="connsiteX3-7" fmla="*/ 3365500 w 3400346"/>
              <a:gd name="connsiteY3-8" fmla="*/ 3365500 h 3365500"/>
              <a:gd name="connsiteX4-9" fmla="*/ 3365500 w 3400346"/>
              <a:gd name="connsiteY4-10" fmla="*/ 3365500 h 3365500"/>
              <a:gd name="connsiteX5-11" fmla="*/ 0 w 3400346"/>
              <a:gd name="connsiteY5-12" fmla="*/ 3365500 h 3365500"/>
              <a:gd name="connsiteX6-13" fmla="*/ 0 w 3400346"/>
              <a:gd name="connsiteY6-14" fmla="*/ 3365500 h 3365500"/>
              <a:gd name="connsiteX7-15" fmla="*/ 0 w 3400346"/>
              <a:gd name="connsiteY7-16" fmla="*/ 246590 h 3365500"/>
              <a:gd name="connsiteX8-17" fmla="*/ 246590 w 3400346"/>
              <a:gd name="connsiteY8-18" fmla="*/ 0 h 3365500"/>
              <a:gd name="connsiteX0-19" fmla="*/ 246590 w 3413081"/>
              <a:gd name="connsiteY0-20" fmla="*/ 0 h 3365500"/>
              <a:gd name="connsiteX1-21" fmla="*/ 3347510 w 3413081"/>
              <a:gd name="connsiteY1-22" fmla="*/ 0 h 3365500"/>
              <a:gd name="connsiteX2-23" fmla="*/ 3365500 w 3413081"/>
              <a:gd name="connsiteY2-24" fmla="*/ 246590 h 3365500"/>
              <a:gd name="connsiteX3-25" fmla="*/ 3365500 w 3413081"/>
              <a:gd name="connsiteY3-26" fmla="*/ 3365500 h 3365500"/>
              <a:gd name="connsiteX4-27" fmla="*/ 3365500 w 3413081"/>
              <a:gd name="connsiteY4-28" fmla="*/ 3365500 h 3365500"/>
              <a:gd name="connsiteX5-29" fmla="*/ 0 w 3413081"/>
              <a:gd name="connsiteY5-30" fmla="*/ 3365500 h 3365500"/>
              <a:gd name="connsiteX6-31" fmla="*/ 0 w 3413081"/>
              <a:gd name="connsiteY6-32" fmla="*/ 3365500 h 3365500"/>
              <a:gd name="connsiteX7-33" fmla="*/ 0 w 3413081"/>
              <a:gd name="connsiteY7-34" fmla="*/ 246590 h 3365500"/>
              <a:gd name="connsiteX8-35" fmla="*/ 246590 w 3413081"/>
              <a:gd name="connsiteY8-36" fmla="*/ 0 h 3365500"/>
              <a:gd name="connsiteX0-37" fmla="*/ 246590 w 3419838"/>
              <a:gd name="connsiteY0-38" fmla="*/ 0 h 3365500"/>
              <a:gd name="connsiteX1-39" fmla="*/ 3357035 w 3419838"/>
              <a:gd name="connsiteY1-40" fmla="*/ 0 h 3365500"/>
              <a:gd name="connsiteX2-41" fmla="*/ 3365500 w 3419838"/>
              <a:gd name="connsiteY2-42" fmla="*/ 246590 h 3365500"/>
              <a:gd name="connsiteX3-43" fmla="*/ 3365500 w 3419838"/>
              <a:gd name="connsiteY3-44" fmla="*/ 3365500 h 3365500"/>
              <a:gd name="connsiteX4-45" fmla="*/ 3365500 w 3419838"/>
              <a:gd name="connsiteY4-46" fmla="*/ 3365500 h 3365500"/>
              <a:gd name="connsiteX5-47" fmla="*/ 0 w 3419838"/>
              <a:gd name="connsiteY5-48" fmla="*/ 3365500 h 3365500"/>
              <a:gd name="connsiteX6-49" fmla="*/ 0 w 3419838"/>
              <a:gd name="connsiteY6-50" fmla="*/ 3365500 h 3365500"/>
              <a:gd name="connsiteX7-51" fmla="*/ 0 w 3419838"/>
              <a:gd name="connsiteY7-52" fmla="*/ 246590 h 3365500"/>
              <a:gd name="connsiteX8-53" fmla="*/ 246590 w 3419838"/>
              <a:gd name="connsiteY8-54" fmla="*/ 0 h 3365500"/>
              <a:gd name="connsiteX0-55" fmla="*/ 246590 w 3426814"/>
              <a:gd name="connsiteY0-56" fmla="*/ 0 h 3365500"/>
              <a:gd name="connsiteX1-57" fmla="*/ 3366560 w 3426814"/>
              <a:gd name="connsiteY1-58" fmla="*/ 0 h 3365500"/>
              <a:gd name="connsiteX2-59" fmla="*/ 3365500 w 3426814"/>
              <a:gd name="connsiteY2-60" fmla="*/ 246590 h 3365500"/>
              <a:gd name="connsiteX3-61" fmla="*/ 3365500 w 3426814"/>
              <a:gd name="connsiteY3-62" fmla="*/ 3365500 h 3365500"/>
              <a:gd name="connsiteX4-63" fmla="*/ 3365500 w 3426814"/>
              <a:gd name="connsiteY4-64" fmla="*/ 3365500 h 3365500"/>
              <a:gd name="connsiteX5-65" fmla="*/ 0 w 3426814"/>
              <a:gd name="connsiteY5-66" fmla="*/ 3365500 h 3365500"/>
              <a:gd name="connsiteX6-67" fmla="*/ 0 w 3426814"/>
              <a:gd name="connsiteY6-68" fmla="*/ 3365500 h 3365500"/>
              <a:gd name="connsiteX7-69" fmla="*/ 0 w 3426814"/>
              <a:gd name="connsiteY7-70" fmla="*/ 246590 h 3365500"/>
              <a:gd name="connsiteX8-71" fmla="*/ 246590 w 3426814"/>
              <a:gd name="connsiteY8-72" fmla="*/ 0 h 3365500"/>
              <a:gd name="connsiteX0-73" fmla="*/ 246590 w 3426814"/>
              <a:gd name="connsiteY0-74" fmla="*/ 0 h 3365500"/>
              <a:gd name="connsiteX1-75" fmla="*/ 3366560 w 3426814"/>
              <a:gd name="connsiteY1-76" fmla="*/ 0 h 3365500"/>
              <a:gd name="connsiteX2-77" fmla="*/ 3365500 w 3426814"/>
              <a:gd name="connsiteY2-78" fmla="*/ 246590 h 3365500"/>
              <a:gd name="connsiteX3-79" fmla="*/ 3367087 w 3426814"/>
              <a:gd name="connsiteY3-80" fmla="*/ 427037 h 3365500"/>
              <a:gd name="connsiteX4-81" fmla="*/ 3365500 w 3426814"/>
              <a:gd name="connsiteY4-82" fmla="*/ 3365500 h 3365500"/>
              <a:gd name="connsiteX5-83" fmla="*/ 3365500 w 3426814"/>
              <a:gd name="connsiteY5-84" fmla="*/ 3365500 h 3365500"/>
              <a:gd name="connsiteX6-85" fmla="*/ 0 w 3426814"/>
              <a:gd name="connsiteY6-86" fmla="*/ 3365500 h 3365500"/>
              <a:gd name="connsiteX7-87" fmla="*/ 0 w 3426814"/>
              <a:gd name="connsiteY7-88" fmla="*/ 3365500 h 3365500"/>
              <a:gd name="connsiteX8-89" fmla="*/ 0 w 3426814"/>
              <a:gd name="connsiteY8-90" fmla="*/ 246590 h 3365500"/>
              <a:gd name="connsiteX9" fmla="*/ 246590 w 3426814"/>
              <a:gd name="connsiteY9" fmla="*/ 0 h 3365500"/>
              <a:gd name="connsiteX0-91" fmla="*/ 246590 w 3599479"/>
              <a:gd name="connsiteY0-92" fmla="*/ 15825 h 3381325"/>
              <a:gd name="connsiteX1-93" fmla="*/ 3366560 w 3599479"/>
              <a:gd name="connsiteY1-94" fmla="*/ 15825 h 3381325"/>
              <a:gd name="connsiteX2-95" fmla="*/ 3371849 w 3599479"/>
              <a:gd name="connsiteY2-96" fmla="*/ 19000 h 3381325"/>
              <a:gd name="connsiteX3-97" fmla="*/ 3365500 w 3599479"/>
              <a:gd name="connsiteY3-98" fmla="*/ 262415 h 3381325"/>
              <a:gd name="connsiteX4-99" fmla="*/ 3367087 w 3599479"/>
              <a:gd name="connsiteY4-100" fmla="*/ 442862 h 3381325"/>
              <a:gd name="connsiteX5-101" fmla="*/ 3365500 w 3599479"/>
              <a:gd name="connsiteY5-102" fmla="*/ 3381325 h 3381325"/>
              <a:gd name="connsiteX6-103" fmla="*/ 3365500 w 3599479"/>
              <a:gd name="connsiteY6-104" fmla="*/ 3381325 h 3381325"/>
              <a:gd name="connsiteX7-105" fmla="*/ 0 w 3599479"/>
              <a:gd name="connsiteY7-106" fmla="*/ 3381325 h 3381325"/>
              <a:gd name="connsiteX8-107" fmla="*/ 0 w 3599479"/>
              <a:gd name="connsiteY8-108" fmla="*/ 3381325 h 3381325"/>
              <a:gd name="connsiteX9-109" fmla="*/ 0 w 3599479"/>
              <a:gd name="connsiteY9-110" fmla="*/ 262415 h 3381325"/>
              <a:gd name="connsiteX10" fmla="*/ 246590 w 3599479"/>
              <a:gd name="connsiteY10" fmla="*/ 15825 h 3381325"/>
              <a:gd name="connsiteX0-111" fmla="*/ 246590 w 3599419"/>
              <a:gd name="connsiteY0-112" fmla="*/ 29179 h 3394679"/>
              <a:gd name="connsiteX1-113" fmla="*/ 3366560 w 3599419"/>
              <a:gd name="connsiteY1-114" fmla="*/ 29179 h 3394679"/>
              <a:gd name="connsiteX2-115" fmla="*/ 3371849 w 3599419"/>
              <a:gd name="connsiteY2-116" fmla="*/ 32354 h 3394679"/>
              <a:gd name="connsiteX3-117" fmla="*/ 3367087 w 3599419"/>
              <a:gd name="connsiteY3-118" fmla="*/ 456216 h 3394679"/>
              <a:gd name="connsiteX4-119" fmla="*/ 3365500 w 3599419"/>
              <a:gd name="connsiteY4-120" fmla="*/ 3394679 h 3394679"/>
              <a:gd name="connsiteX5-121" fmla="*/ 3365500 w 3599419"/>
              <a:gd name="connsiteY5-122" fmla="*/ 3394679 h 3394679"/>
              <a:gd name="connsiteX6-123" fmla="*/ 0 w 3599419"/>
              <a:gd name="connsiteY6-124" fmla="*/ 3394679 h 3394679"/>
              <a:gd name="connsiteX7-125" fmla="*/ 0 w 3599419"/>
              <a:gd name="connsiteY7-126" fmla="*/ 3394679 h 3394679"/>
              <a:gd name="connsiteX8-127" fmla="*/ 0 w 3599419"/>
              <a:gd name="connsiteY8-128" fmla="*/ 275769 h 3394679"/>
              <a:gd name="connsiteX9-129" fmla="*/ 246590 w 3599419"/>
              <a:gd name="connsiteY9-130" fmla="*/ 29179 h 3394679"/>
              <a:gd name="connsiteX0-131" fmla="*/ 246590 w 3597884"/>
              <a:gd name="connsiteY0-132" fmla="*/ 0 h 3365500"/>
              <a:gd name="connsiteX1-133" fmla="*/ 3366560 w 3597884"/>
              <a:gd name="connsiteY1-134" fmla="*/ 0 h 3365500"/>
              <a:gd name="connsiteX2-135" fmla="*/ 3367087 w 3597884"/>
              <a:gd name="connsiteY2-136" fmla="*/ 427037 h 3365500"/>
              <a:gd name="connsiteX3-137" fmla="*/ 3365500 w 3597884"/>
              <a:gd name="connsiteY3-138" fmla="*/ 3365500 h 3365500"/>
              <a:gd name="connsiteX4-139" fmla="*/ 3365500 w 3597884"/>
              <a:gd name="connsiteY4-140" fmla="*/ 3365500 h 3365500"/>
              <a:gd name="connsiteX5-141" fmla="*/ 0 w 3597884"/>
              <a:gd name="connsiteY5-142" fmla="*/ 3365500 h 3365500"/>
              <a:gd name="connsiteX6-143" fmla="*/ 0 w 3597884"/>
              <a:gd name="connsiteY6-144" fmla="*/ 3365500 h 3365500"/>
              <a:gd name="connsiteX7-145" fmla="*/ 0 w 3597884"/>
              <a:gd name="connsiteY7-146" fmla="*/ 246590 h 3365500"/>
              <a:gd name="connsiteX8-147" fmla="*/ 246590 w 3597884"/>
              <a:gd name="connsiteY8-148" fmla="*/ 0 h 3365500"/>
              <a:gd name="connsiteX0-149" fmla="*/ 246590 w 3377753"/>
              <a:gd name="connsiteY0-150" fmla="*/ 16210 h 3381710"/>
              <a:gd name="connsiteX1-151" fmla="*/ 3366560 w 3377753"/>
              <a:gd name="connsiteY1-152" fmla="*/ 16210 h 3381710"/>
              <a:gd name="connsiteX2-153" fmla="*/ 3367087 w 3377753"/>
              <a:gd name="connsiteY2-154" fmla="*/ 443247 h 3381710"/>
              <a:gd name="connsiteX3-155" fmla="*/ 3365500 w 3377753"/>
              <a:gd name="connsiteY3-156" fmla="*/ 3381710 h 3381710"/>
              <a:gd name="connsiteX4-157" fmla="*/ 3365500 w 3377753"/>
              <a:gd name="connsiteY4-158" fmla="*/ 3381710 h 3381710"/>
              <a:gd name="connsiteX5-159" fmla="*/ 0 w 3377753"/>
              <a:gd name="connsiteY5-160" fmla="*/ 3381710 h 3381710"/>
              <a:gd name="connsiteX6-161" fmla="*/ 0 w 3377753"/>
              <a:gd name="connsiteY6-162" fmla="*/ 3381710 h 3381710"/>
              <a:gd name="connsiteX7-163" fmla="*/ 0 w 3377753"/>
              <a:gd name="connsiteY7-164" fmla="*/ 262800 h 3381710"/>
              <a:gd name="connsiteX8-165" fmla="*/ 246590 w 3377753"/>
              <a:gd name="connsiteY8-166" fmla="*/ 16210 h 3381710"/>
              <a:gd name="connsiteX0-167" fmla="*/ 246590 w 3367127"/>
              <a:gd name="connsiteY0-168" fmla="*/ 0 h 3365500"/>
              <a:gd name="connsiteX1-169" fmla="*/ 3366560 w 3367127"/>
              <a:gd name="connsiteY1-170" fmla="*/ 0 h 3365500"/>
              <a:gd name="connsiteX2-171" fmla="*/ 3367087 w 3367127"/>
              <a:gd name="connsiteY2-172" fmla="*/ 427037 h 3365500"/>
              <a:gd name="connsiteX3-173" fmla="*/ 3365500 w 3367127"/>
              <a:gd name="connsiteY3-174" fmla="*/ 3365500 h 3365500"/>
              <a:gd name="connsiteX4-175" fmla="*/ 3365500 w 3367127"/>
              <a:gd name="connsiteY4-176" fmla="*/ 3365500 h 3365500"/>
              <a:gd name="connsiteX5-177" fmla="*/ 0 w 3367127"/>
              <a:gd name="connsiteY5-178" fmla="*/ 3365500 h 3365500"/>
              <a:gd name="connsiteX6-179" fmla="*/ 0 w 3367127"/>
              <a:gd name="connsiteY6-180" fmla="*/ 3365500 h 3365500"/>
              <a:gd name="connsiteX7-181" fmla="*/ 0 w 3367127"/>
              <a:gd name="connsiteY7-182" fmla="*/ 246590 h 3365500"/>
              <a:gd name="connsiteX8-183" fmla="*/ 246590 w 3367127"/>
              <a:gd name="connsiteY8-184" fmla="*/ 0 h 3365500"/>
              <a:gd name="connsiteX0-185" fmla="*/ 246590 w 3367127"/>
              <a:gd name="connsiteY0-186" fmla="*/ 0 h 3365500"/>
              <a:gd name="connsiteX1-187" fmla="*/ 3366560 w 3367127"/>
              <a:gd name="connsiteY1-188" fmla="*/ 0 h 3365500"/>
              <a:gd name="connsiteX2-189" fmla="*/ 3367087 w 3367127"/>
              <a:gd name="connsiteY2-190" fmla="*/ 427037 h 3365500"/>
              <a:gd name="connsiteX3-191" fmla="*/ 3365500 w 3367127"/>
              <a:gd name="connsiteY3-192" fmla="*/ 3365500 h 3365500"/>
              <a:gd name="connsiteX4-193" fmla="*/ 3365500 w 3367127"/>
              <a:gd name="connsiteY4-194" fmla="*/ 3365500 h 3365500"/>
              <a:gd name="connsiteX5-195" fmla="*/ 0 w 3367127"/>
              <a:gd name="connsiteY5-196" fmla="*/ 3365500 h 3365500"/>
              <a:gd name="connsiteX6-197" fmla="*/ 0 w 3367127"/>
              <a:gd name="connsiteY6-198" fmla="*/ 3365500 h 3365500"/>
              <a:gd name="connsiteX7-199" fmla="*/ 0 w 3367127"/>
              <a:gd name="connsiteY7-200" fmla="*/ 246590 h 3365500"/>
              <a:gd name="connsiteX8-201" fmla="*/ 246590 w 3367127"/>
              <a:gd name="connsiteY8-202" fmla="*/ 0 h 3365500"/>
              <a:gd name="connsiteX0-203" fmla="*/ 246590 w 3597354"/>
              <a:gd name="connsiteY0-204" fmla="*/ 0 h 3365500"/>
              <a:gd name="connsiteX1-205" fmla="*/ 3366560 w 3597354"/>
              <a:gd name="connsiteY1-206" fmla="*/ 0 h 3365500"/>
              <a:gd name="connsiteX2-207" fmla="*/ 3365500 w 3597354"/>
              <a:gd name="connsiteY2-208" fmla="*/ 3365500 h 3365500"/>
              <a:gd name="connsiteX3-209" fmla="*/ 3365500 w 3597354"/>
              <a:gd name="connsiteY3-210" fmla="*/ 3365500 h 3365500"/>
              <a:gd name="connsiteX4-211" fmla="*/ 0 w 3597354"/>
              <a:gd name="connsiteY4-212" fmla="*/ 3365500 h 3365500"/>
              <a:gd name="connsiteX5-213" fmla="*/ 0 w 3597354"/>
              <a:gd name="connsiteY5-214" fmla="*/ 3365500 h 3365500"/>
              <a:gd name="connsiteX6-215" fmla="*/ 0 w 3597354"/>
              <a:gd name="connsiteY6-216" fmla="*/ 246590 h 3365500"/>
              <a:gd name="connsiteX7-217" fmla="*/ 246590 w 3597354"/>
              <a:gd name="connsiteY7-218" fmla="*/ 0 h 3365500"/>
              <a:gd name="connsiteX0-219" fmla="*/ 246590 w 3367119"/>
              <a:gd name="connsiteY0-220" fmla="*/ 0 h 3365500"/>
              <a:gd name="connsiteX1-221" fmla="*/ 3366560 w 3367119"/>
              <a:gd name="connsiteY1-222" fmla="*/ 0 h 3365500"/>
              <a:gd name="connsiteX2-223" fmla="*/ 3365500 w 3367119"/>
              <a:gd name="connsiteY2-224" fmla="*/ 3365500 h 3365500"/>
              <a:gd name="connsiteX3-225" fmla="*/ 3365500 w 3367119"/>
              <a:gd name="connsiteY3-226" fmla="*/ 3365500 h 3365500"/>
              <a:gd name="connsiteX4-227" fmla="*/ 0 w 3367119"/>
              <a:gd name="connsiteY4-228" fmla="*/ 3365500 h 3365500"/>
              <a:gd name="connsiteX5-229" fmla="*/ 0 w 3367119"/>
              <a:gd name="connsiteY5-230" fmla="*/ 3365500 h 3365500"/>
              <a:gd name="connsiteX6-231" fmla="*/ 0 w 3367119"/>
              <a:gd name="connsiteY6-232" fmla="*/ 246590 h 3365500"/>
              <a:gd name="connsiteX7-233" fmla="*/ 246590 w 3367119"/>
              <a:gd name="connsiteY7-234" fmla="*/ 0 h 3365500"/>
              <a:gd name="connsiteX0-235" fmla="*/ 246590 w 3366560"/>
              <a:gd name="connsiteY0-236" fmla="*/ 0 h 3365500"/>
              <a:gd name="connsiteX1-237" fmla="*/ 3366560 w 3366560"/>
              <a:gd name="connsiteY1-238" fmla="*/ 0 h 3365500"/>
              <a:gd name="connsiteX2-239" fmla="*/ 3365500 w 3366560"/>
              <a:gd name="connsiteY2-240" fmla="*/ 3365500 h 3365500"/>
              <a:gd name="connsiteX3-241" fmla="*/ 3365500 w 3366560"/>
              <a:gd name="connsiteY3-242" fmla="*/ 3365500 h 3365500"/>
              <a:gd name="connsiteX4-243" fmla="*/ 0 w 3366560"/>
              <a:gd name="connsiteY4-244" fmla="*/ 3365500 h 3365500"/>
              <a:gd name="connsiteX5-245" fmla="*/ 0 w 3366560"/>
              <a:gd name="connsiteY5-246" fmla="*/ 3365500 h 3365500"/>
              <a:gd name="connsiteX6-247" fmla="*/ 0 w 3366560"/>
              <a:gd name="connsiteY6-248" fmla="*/ 246590 h 3365500"/>
              <a:gd name="connsiteX7-249" fmla="*/ 246590 w 3366560"/>
              <a:gd name="connsiteY7-250" fmla="*/ 0 h 33655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</a:cxnLst>
            <a:rect l="l" t="t" r="r" b="b"/>
            <a:pathLst>
              <a:path w="3366560" h="3365500">
                <a:moveTo>
                  <a:pt x="246590" y="0"/>
                </a:moveTo>
                <a:lnTo>
                  <a:pt x="3366560" y="0"/>
                </a:lnTo>
                <a:cubicBezTo>
                  <a:pt x="3363456" y="57044"/>
                  <a:pt x="3365677" y="2804583"/>
                  <a:pt x="3365500" y="3365500"/>
                </a:cubicBezTo>
                <a:lnTo>
                  <a:pt x="3365500" y="3365500"/>
                </a:lnTo>
                <a:lnTo>
                  <a:pt x="0" y="3365500"/>
                </a:lnTo>
                <a:lnTo>
                  <a:pt x="0" y="3365500"/>
                </a:lnTo>
                <a:lnTo>
                  <a:pt x="0" y="246590"/>
                </a:lnTo>
                <a:cubicBezTo>
                  <a:pt x="0" y="110402"/>
                  <a:pt x="110402" y="0"/>
                  <a:pt x="246590" y="0"/>
                </a:cubicBezTo>
                <a:close/>
              </a:path>
            </a:pathLst>
          </a:cu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-左字右四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" name="矩形 13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22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23" name="图片占位符 26"/>
          <p:cNvSpPr>
            <a:spLocks noGrp="1"/>
          </p:cNvSpPr>
          <p:nvPr>
            <p:ph type="pic" sz="quarter" idx="23"/>
          </p:nvPr>
        </p:nvSpPr>
        <p:spPr>
          <a:xfrm>
            <a:off x="6945807" y="1764001"/>
            <a:ext cx="1937400" cy="1951797"/>
          </a:xfrm>
          <a:custGeom>
            <a:avLst/>
            <a:gdLst>
              <a:gd name="connsiteX0" fmla="*/ 385763 w 1636713"/>
              <a:gd name="connsiteY0" fmla="*/ 0 h 1640417"/>
              <a:gd name="connsiteX1" fmla="*/ 1630363 w 1636713"/>
              <a:gd name="connsiteY1" fmla="*/ 0 h 1640417"/>
              <a:gd name="connsiteX2" fmla="*/ 1630363 w 1636713"/>
              <a:gd name="connsiteY2" fmla="*/ 88946 h 1640417"/>
              <a:gd name="connsiteX3" fmla="*/ 1636713 w 1636713"/>
              <a:gd name="connsiteY3" fmla="*/ 120398 h 1640417"/>
              <a:gd name="connsiteX4" fmla="*/ 1636713 w 1636713"/>
              <a:gd name="connsiteY4" fmla="*/ 1005418 h 1640417"/>
              <a:gd name="connsiteX5" fmla="*/ 1636713 w 1636713"/>
              <a:gd name="connsiteY5" fmla="*/ 1517904 h 1640417"/>
              <a:gd name="connsiteX6" fmla="*/ 1636713 w 1636713"/>
              <a:gd name="connsiteY6" fmla="*/ 1638831 h 1640417"/>
              <a:gd name="connsiteX7" fmla="*/ 1630363 w 1636713"/>
              <a:gd name="connsiteY7" fmla="*/ 1638831 h 1640417"/>
              <a:gd name="connsiteX8" fmla="*/ 1630363 w 1636713"/>
              <a:gd name="connsiteY8" fmla="*/ 1640417 h 1640417"/>
              <a:gd name="connsiteX9" fmla="*/ 385763 w 1636713"/>
              <a:gd name="connsiteY9" fmla="*/ 1640417 h 1640417"/>
              <a:gd name="connsiteX10" fmla="*/ 385763 w 1636713"/>
              <a:gd name="connsiteY10" fmla="*/ 1638831 h 1640417"/>
              <a:gd name="connsiteX11" fmla="*/ 0 w 1636713"/>
              <a:gd name="connsiteY11" fmla="*/ 1638831 h 1640417"/>
              <a:gd name="connsiteX12" fmla="*/ 0 w 1636713"/>
              <a:gd name="connsiteY12" fmla="*/ 1517904 h 1640417"/>
              <a:gd name="connsiteX13" fmla="*/ 0 w 1636713"/>
              <a:gd name="connsiteY13" fmla="*/ 1005418 h 1640417"/>
              <a:gd name="connsiteX14" fmla="*/ 0 w 1636713"/>
              <a:gd name="connsiteY14" fmla="*/ 120398 h 1640417"/>
              <a:gd name="connsiteX15" fmla="*/ 120397 w 1636713"/>
              <a:gd name="connsiteY15" fmla="*/ 1 h 1640417"/>
              <a:gd name="connsiteX16" fmla="*/ 385763 w 1636713"/>
              <a:gd name="connsiteY16" fmla="*/ 1 h 1640417"/>
              <a:gd name="connsiteX0-1" fmla="*/ 385763 w 1636713"/>
              <a:gd name="connsiteY0-2" fmla="*/ 0 h 1640417"/>
              <a:gd name="connsiteX1-3" fmla="*/ 1630363 w 1636713"/>
              <a:gd name="connsiteY1-4" fmla="*/ 0 h 1640417"/>
              <a:gd name="connsiteX2-5" fmla="*/ 1630363 w 1636713"/>
              <a:gd name="connsiteY2-6" fmla="*/ 88946 h 1640417"/>
              <a:gd name="connsiteX3-7" fmla="*/ 1636713 w 1636713"/>
              <a:gd name="connsiteY3-8" fmla="*/ 1005418 h 1640417"/>
              <a:gd name="connsiteX4-9" fmla="*/ 1636713 w 1636713"/>
              <a:gd name="connsiteY4-10" fmla="*/ 1517904 h 1640417"/>
              <a:gd name="connsiteX5-11" fmla="*/ 1636713 w 1636713"/>
              <a:gd name="connsiteY5-12" fmla="*/ 1638831 h 1640417"/>
              <a:gd name="connsiteX6-13" fmla="*/ 1630363 w 1636713"/>
              <a:gd name="connsiteY6-14" fmla="*/ 1638831 h 1640417"/>
              <a:gd name="connsiteX7-15" fmla="*/ 1630363 w 1636713"/>
              <a:gd name="connsiteY7-16" fmla="*/ 1640417 h 1640417"/>
              <a:gd name="connsiteX8-17" fmla="*/ 385763 w 1636713"/>
              <a:gd name="connsiteY8-18" fmla="*/ 1640417 h 1640417"/>
              <a:gd name="connsiteX9-19" fmla="*/ 385763 w 1636713"/>
              <a:gd name="connsiteY9-20" fmla="*/ 1638831 h 1640417"/>
              <a:gd name="connsiteX10-21" fmla="*/ 0 w 1636713"/>
              <a:gd name="connsiteY10-22" fmla="*/ 1638831 h 1640417"/>
              <a:gd name="connsiteX11-23" fmla="*/ 0 w 1636713"/>
              <a:gd name="connsiteY11-24" fmla="*/ 1517904 h 1640417"/>
              <a:gd name="connsiteX12-25" fmla="*/ 0 w 1636713"/>
              <a:gd name="connsiteY12-26" fmla="*/ 1005418 h 1640417"/>
              <a:gd name="connsiteX13-27" fmla="*/ 0 w 1636713"/>
              <a:gd name="connsiteY13-28" fmla="*/ 120398 h 1640417"/>
              <a:gd name="connsiteX14-29" fmla="*/ 120397 w 1636713"/>
              <a:gd name="connsiteY14-30" fmla="*/ 1 h 1640417"/>
              <a:gd name="connsiteX15-31" fmla="*/ 385763 w 1636713"/>
              <a:gd name="connsiteY15-32" fmla="*/ 1 h 1640417"/>
              <a:gd name="connsiteX16-33" fmla="*/ 385763 w 1636713"/>
              <a:gd name="connsiteY16-34" fmla="*/ 0 h 1640417"/>
              <a:gd name="connsiteX0-35" fmla="*/ 385763 w 1636713"/>
              <a:gd name="connsiteY0-36" fmla="*/ 0 h 1640417"/>
              <a:gd name="connsiteX1-37" fmla="*/ 1630363 w 1636713"/>
              <a:gd name="connsiteY1-38" fmla="*/ 0 h 1640417"/>
              <a:gd name="connsiteX2-39" fmla="*/ 1636713 w 1636713"/>
              <a:gd name="connsiteY2-40" fmla="*/ 1005418 h 1640417"/>
              <a:gd name="connsiteX3-41" fmla="*/ 1636713 w 1636713"/>
              <a:gd name="connsiteY3-42" fmla="*/ 1517904 h 1640417"/>
              <a:gd name="connsiteX4-43" fmla="*/ 1636713 w 1636713"/>
              <a:gd name="connsiteY4-44" fmla="*/ 1638831 h 1640417"/>
              <a:gd name="connsiteX5-45" fmla="*/ 1630363 w 1636713"/>
              <a:gd name="connsiteY5-46" fmla="*/ 1638831 h 1640417"/>
              <a:gd name="connsiteX6-47" fmla="*/ 1630363 w 1636713"/>
              <a:gd name="connsiteY6-48" fmla="*/ 1640417 h 1640417"/>
              <a:gd name="connsiteX7-49" fmla="*/ 385763 w 1636713"/>
              <a:gd name="connsiteY7-50" fmla="*/ 1640417 h 1640417"/>
              <a:gd name="connsiteX8-51" fmla="*/ 385763 w 1636713"/>
              <a:gd name="connsiteY8-52" fmla="*/ 1638831 h 1640417"/>
              <a:gd name="connsiteX9-53" fmla="*/ 0 w 1636713"/>
              <a:gd name="connsiteY9-54" fmla="*/ 1638831 h 1640417"/>
              <a:gd name="connsiteX10-55" fmla="*/ 0 w 1636713"/>
              <a:gd name="connsiteY10-56" fmla="*/ 1517904 h 1640417"/>
              <a:gd name="connsiteX11-57" fmla="*/ 0 w 1636713"/>
              <a:gd name="connsiteY11-58" fmla="*/ 1005418 h 1640417"/>
              <a:gd name="connsiteX12-59" fmla="*/ 0 w 1636713"/>
              <a:gd name="connsiteY12-60" fmla="*/ 120398 h 1640417"/>
              <a:gd name="connsiteX13-61" fmla="*/ 120397 w 1636713"/>
              <a:gd name="connsiteY13-62" fmla="*/ 1 h 1640417"/>
              <a:gd name="connsiteX14-63" fmla="*/ 385763 w 1636713"/>
              <a:gd name="connsiteY14-64" fmla="*/ 1 h 1640417"/>
              <a:gd name="connsiteX15-65" fmla="*/ 385763 w 1636713"/>
              <a:gd name="connsiteY15-66" fmla="*/ 0 h 1640417"/>
              <a:gd name="connsiteX0-67" fmla="*/ 385763 w 1653171"/>
              <a:gd name="connsiteY0-68" fmla="*/ 0 h 1640417"/>
              <a:gd name="connsiteX1-69" fmla="*/ 1653018 w 1653171"/>
              <a:gd name="connsiteY1-70" fmla="*/ 0 h 1640417"/>
              <a:gd name="connsiteX2-71" fmla="*/ 1636713 w 1653171"/>
              <a:gd name="connsiteY2-72" fmla="*/ 1005418 h 1640417"/>
              <a:gd name="connsiteX3-73" fmla="*/ 1636713 w 1653171"/>
              <a:gd name="connsiteY3-74" fmla="*/ 1517904 h 1640417"/>
              <a:gd name="connsiteX4-75" fmla="*/ 1636713 w 1653171"/>
              <a:gd name="connsiteY4-76" fmla="*/ 1638831 h 1640417"/>
              <a:gd name="connsiteX5-77" fmla="*/ 1630363 w 1653171"/>
              <a:gd name="connsiteY5-78" fmla="*/ 1638831 h 1640417"/>
              <a:gd name="connsiteX6-79" fmla="*/ 1630363 w 1653171"/>
              <a:gd name="connsiteY6-80" fmla="*/ 1640417 h 1640417"/>
              <a:gd name="connsiteX7-81" fmla="*/ 385763 w 1653171"/>
              <a:gd name="connsiteY7-82" fmla="*/ 1640417 h 1640417"/>
              <a:gd name="connsiteX8-83" fmla="*/ 385763 w 1653171"/>
              <a:gd name="connsiteY8-84" fmla="*/ 1638831 h 1640417"/>
              <a:gd name="connsiteX9-85" fmla="*/ 0 w 1653171"/>
              <a:gd name="connsiteY9-86" fmla="*/ 1638831 h 1640417"/>
              <a:gd name="connsiteX10-87" fmla="*/ 0 w 1653171"/>
              <a:gd name="connsiteY10-88" fmla="*/ 1517904 h 1640417"/>
              <a:gd name="connsiteX11-89" fmla="*/ 0 w 1653171"/>
              <a:gd name="connsiteY11-90" fmla="*/ 1005418 h 1640417"/>
              <a:gd name="connsiteX12-91" fmla="*/ 0 w 1653171"/>
              <a:gd name="connsiteY12-92" fmla="*/ 120398 h 1640417"/>
              <a:gd name="connsiteX13-93" fmla="*/ 120397 w 1653171"/>
              <a:gd name="connsiteY13-94" fmla="*/ 1 h 1640417"/>
              <a:gd name="connsiteX14-95" fmla="*/ 385763 w 1653171"/>
              <a:gd name="connsiteY14-96" fmla="*/ 1 h 1640417"/>
              <a:gd name="connsiteX15-97" fmla="*/ 385763 w 1653171"/>
              <a:gd name="connsiteY15-98" fmla="*/ 0 h 1640417"/>
              <a:gd name="connsiteX0-99" fmla="*/ 385763 w 1638414"/>
              <a:gd name="connsiteY0-100" fmla="*/ 0 h 1640417"/>
              <a:gd name="connsiteX1-101" fmla="*/ 1637915 w 1638414"/>
              <a:gd name="connsiteY1-102" fmla="*/ 0 h 1640417"/>
              <a:gd name="connsiteX2-103" fmla="*/ 1636713 w 1638414"/>
              <a:gd name="connsiteY2-104" fmla="*/ 1005418 h 1640417"/>
              <a:gd name="connsiteX3-105" fmla="*/ 1636713 w 1638414"/>
              <a:gd name="connsiteY3-106" fmla="*/ 1517904 h 1640417"/>
              <a:gd name="connsiteX4-107" fmla="*/ 1636713 w 1638414"/>
              <a:gd name="connsiteY4-108" fmla="*/ 1638831 h 1640417"/>
              <a:gd name="connsiteX5-109" fmla="*/ 1630363 w 1638414"/>
              <a:gd name="connsiteY5-110" fmla="*/ 1638831 h 1640417"/>
              <a:gd name="connsiteX6-111" fmla="*/ 1630363 w 1638414"/>
              <a:gd name="connsiteY6-112" fmla="*/ 1640417 h 1640417"/>
              <a:gd name="connsiteX7-113" fmla="*/ 385763 w 1638414"/>
              <a:gd name="connsiteY7-114" fmla="*/ 1640417 h 1640417"/>
              <a:gd name="connsiteX8-115" fmla="*/ 385763 w 1638414"/>
              <a:gd name="connsiteY8-116" fmla="*/ 1638831 h 1640417"/>
              <a:gd name="connsiteX9-117" fmla="*/ 0 w 1638414"/>
              <a:gd name="connsiteY9-118" fmla="*/ 1638831 h 1640417"/>
              <a:gd name="connsiteX10-119" fmla="*/ 0 w 1638414"/>
              <a:gd name="connsiteY10-120" fmla="*/ 1517904 h 1640417"/>
              <a:gd name="connsiteX11-121" fmla="*/ 0 w 1638414"/>
              <a:gd name="connsiteY11-122" fmla="*/ 1005418 h 1640417"/>
              <a:gd name="connsiteX12-123" fmla="*/ 0 w 1638414"/>
              <a:gd name="connsiteY12-124" fmla="*/ 120398 h 1640417"/>
              <a:gd name="connsiteX13-125" fmla="*/ 120397 w 1638414"/>
              <a:gd name="connsiteY13-126" fmla="*/ 1 h 1640417"/>
              <a:gd name="connsiteX14-127" fmla="*/ 385763 w 1638414"/>
              <a:gd name="connsiteY14-128" fmla="*/ 1 h 1640417"/>
              <a:gd name="connsiteX15-129" fmla="*/ 385763 w 1638414"/>
              <a:gd name="connsiteY15-130" fmla="*/ 0 h 1640417"/>
              <a:gd name="connsiteX0-131" fmla="*/ 385763 w 1636713"/>
              <a:gd name="connsiteY0-132" fmla="*/ 0 h 1640417"/>
              <a:gd name="connsiteX1-133" fmla="*/ 1635309 w 1636713"/>
              <a:gd name="connsiteY1-134" fmla="*/ 0 h 1640417"/>
              <a:gd name="connsiteX2-135" fmla="*/ 1636713 w 1636713"/>
              <a:gd name="connsiteY2-136" fmla="*/ 1005418 h 1640417"/>
              <a:gd name="connsiteX3-137" fmla="*/ 1636713 w 1636713"/>
              <a:gd name="connsiteY3-138" fmla="*/ 1517904 h 1640417"/>
              <a:gd name="connsiteX4-139" fmla="*/ 1636713 w 1636713"/>
              <a:gd name="connsiteY4-140" fmla="*/ 1638831 h 1640417"/>
              <a:gd name="connsiteX5-141" fmla="*/ 1630363 w 1636713"/>
              <a:gd name="connsiteY5-142" fmla="*/ 1638831 h 1640417"/>
              <a:gd name="connsiteX6-143" fmla="*/ 1630363 w 1636713"/>
              <a:gd name="connsiteY6-144" fmla="*/ 1640417 h 1640417"/>
              <a:gd name="connsiteX7-145" fmla="*/ 385763 w 1636713"/>
              <a:gd name="connsiteY7-146" fmla="*/ 1640417 h 1640417"/>
              <a:gd name="connsiteX8-147" fmla="*/ 385763 w 1636713"/>
              <a:gd name="connsiteY8-148" fmla="*/ 1638831 h 1640417"/>
              <a:gd name="connsiteX9-149" fmla="*/ 0 w 1636713"/>
              <a:gd name="connsiteY9-150" fmla="*/ 1638831 h 1640417"/>
              <a:gd name="connsiteX10-151" fmla="*/ 0 w 1636713"/>
              <a:gd name="connsiteY10-152" fmla="*/ 1517904 h 1640417"/>
              <a:gd name="connsiteX11-153" fmla="*/ 0 w 1636713"/>
              <a:gd name="connsiteY11-154" fmla="*/ 1005418 h 1640417"/>
              <a:gd name="connsiteX12-155" fmla="*/ 0 w 1636713"/>
              <a:gd name="connsiteY12-156" fmla="*/ 120398 h 1640417"/>
              <a:gd name="connsiteX13-157" fmla="*/ 120397 w 1636713"/>
              <a:gd name="connsiteY13-158" fmla="*/ 1 h 1640417"/>
              <a:gd name="connsiteX14-159" fmla="*/ 385763 w 1636713"/>
              <a:gd name="connsiteY14-160" fmla="*/ 1 h 1640417"/>
              <a:gd name="connsiteX15-161" fmla="*/ 385763 w 1636713"/>
              <a:gd name="connsiteY15-162" fmla="*/ 0 h 164041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  <a:cxn ang="0">
                <a:pos x="connsiteX11-23" y="connsiteY11-24"/>
              </a:cxn>
              <a:cxn ang="0">
                <a:pos x="connsiteX12-25" y="connsiteY12-26"/>
              </a:cxn>
              <a:cxn ang="0">
                <a:pos x="connsiteX13-27" y="connsiteY13-28"/>
              </a:cxn>
              <a:cxn ang="0">
                <a:pos x="connsiteX14-29" y="connsiteY14-30"/>
              </a:cxn>
              <a:cxn ang="0">
                <a:pos x="connsiteX15-31" y="connsiteY15-32"/>
              </a:cxn>
            </a:cxnLst>
            <a:rect l="l" t="t" r="r" b="b"/>
            <a:pathLst>
              <a:path w="1636713" h="1640417">
                <a:moveTo>
                  <a:pt x="385763" y="0"/>
                </a:moveTo>
                <a:lnTo>
                  <a:pt x="1635309" y="0"/>
                </a:lnTo>
                <a:cubicBezTo>
                  <a:pt x="1637426" y="335139"/>
                  <a:pt x="1634596" y="670279"/>
                  <a:pt x="1636713" y="1005418"/>
                </a:cubicBezTo>
                <a:lnTo>
                  <a:pt x="1636713" y="1517904"/>
                </a:lnTo>
                <a:lnTo>
                  <a:pt x="1636713" y="1638831"/>
                </a:lnTo>
                <a:lnTo>
                  <a:pt x="1630363" y="1638831"/>
                </a:lnTo>
                <a:lnTo>
                  <a:pt x="1630363" y="1640417"/>
                </a:lnTo>
                <a:lnTo>
                  <a:pt x="385763" y="1640417"/>
                </a:lnTo>
                <a:lnTo>
                  <a:pt x="385763" y="1638831"/>
                </a:lnTo>
                <a:lnTo>
                  <a:pt x="0" y="1638831"/>
                </a:lnTo>
                <a:lnTo>
                  <a:pt x="0" y="1517904"/>
                </a:lnTo>
                <a:lnTo>
                  <a:pt x="0" y="1005418"/>
                </a:lnTo>
                <a:lnTo>
                  <a:pt x="0" y="120398"/>
                </a:lnTo>
                <a:cubicBezTo>
                  <a:pt x="0" y="53905"/>
                  <a:pt x="53904" y="1"/>
                  <a:pt x="120397" y="1"/>
                </a:cubicBezTo>
                <a:lnTo>
                  <a:pt x="385763" y="1"/>
                </a:lnTo>
                <a:lnTo>
                  <a:pt x="385763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24" name="图片占位符 33"/>
          <p:cNvSpPr>
            <a:spLocks noGrp="1"/>
          </p:cNvSpPr>
          <p:nvPr>
            <p:ph type="pic" sz="quarter" idx="21"/>
          </p:nvPr>
        </p:nvSpPr>
        <p:spPr>
          <a:xfrm>
            <a:off x="8920870" y="1763999"/>
            <a:ext cx="1937400" cy="1951799"/>
          </a:xfrm>
          <a:custGeom>
            <a:avLst/>
            <a:gdLst>
              <a:gd name="connsiteX0" fmla="*/ 111918 w 1636713"/>
              <a:gd name="connsiteY0" fmla="*/ 0 h 1639888"/>
              <a:gd name="connsiteX1" fmla="*/ 1524795 w 1636713"/>
              <a:gd name="connsiteY1" fmla="*/ 0 h 1639888"/>
              <a:gd name="connsiteX2" fmla="*/ 1636713 w 1636713"/>
              <a:gd name="connsiteY2" fmla="*/ 111918 h 1639888"/>
              <a:gd name="connsiteX3" fmla="*/ 1636713 w 1636713"/>
              <a:gd name="connsiteY3" fmla="*/ 688047 h 1639888"/>
              <a:gd name="connsiteX4" fmla="*/ 1636713 w 1636713"/>
              <a:gd name="connsiteY4" fmla="*/ 1527970 h 1639888"/>
              <a:gd name="connsiteX5" fmla="*/ 1636713 w 1636713"/>
              <a:gd name="connsiteY5" fmla="*/ 1639888 h 1639888"/>
              <a:gd name="connsiteX6" fmla="*/ 1524795 w 1636713"/>
              <a:gd name="connsiteY6" fmla="*/ 1639888 h 1639888"/>
              <a:gd name="connsiteX7" fmla="*/ 111918 w 1636713"/>
              <a:gd name="connsiteY7" fmla="*/ 1639888 h 1639888"/>
              <a:gd name="connsiteX8" fmla="*/ 0 w 1636713"/>
              <a:gd name="connsiteY8" fmla="*/ 1639888 h 1639888"/>
              <a:gd name="connsiteX9" fmla="*/ 0 w 1636713"/>
              <a:gd name="connsiteY9" fmla="*/ 1527970 h 1639888"/>
              <a:gd name="connsiteX10" fmla="*/ 0 w 1636713"/>
              <a:gd name="connsiteY10" fmla="*/ 1295865 h 1639888"/>
              <a:gd name="connsiteX11" fmla="*/ 0 w 1636713"/>
              <a:gd name="connsiteY11" fmla="*/ 688047 h 1639888"/>
              <a:gd name="connsiteX12" fmla="*/ 0 w 1636713"/>
              <a:gd name="connsiteY12" fmla="*/ 111918 h 1639888"/>
              <a:gd name="connsiteX13" fmla="*/ 0 w 1636713"/>
              <a:gd name="connsiteY13" fmla="*/ 1 h 1639888"/>
              <a:gd name="connsiteX14" fmla="*/ 111913 w 1636713"/>
              <a:gd name="connsiteY14" fmla="*/ 1 h 16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36713" h="1639888">
                <a:moveTo>
                  <a:pt x="111918" y="0"/>
                </a:moveTo>
                <a:lnTo>
                  <a:pt x="1524795" y="0"/>
                </a:lnTo>
                <a:cubicBezTo>
                  <a:pt x="1586606" y="0"/>
                  <a:pt x="1636713" y="50107"/>
                  <a:pt x="1636713" y="111918"/>
                </a:cubicBezTo>
                <a:lnTo>
                  <a:pt x="1636713" y="688047"/>
                </a:lnTo>
                <a:lnTo>
                  <a:pt x="1636713" y="1527970"/>
                </a:lnTo>
                <a:lnTo>
                  <a:pt x="1636713" y="1639888"/>
                </a:lnTo>
                <a:lnTo>
                  <a:pt x="1524795" y="1639888"/>
                </a:lnTo>
                <a:lnTo>
                  <a:pt x="111918" y="1639888"/>
                </a:lnTo>
                <a:lnTo>
                  <a:pt x="0" y="1639888"/>
                </a:lnTo>
                <a:lnTo>
                  <a:pt x="0" y="1527970"/>
                </a:lnTo>
                <a:lnTo>
                  <a:pt x="0" y="1295865"/>
                </a:lnTo>
                <a:lnTo>
                  <a:pt x="0" y="688047"/>
                </a:lnTo>
                <a:lnTo>
                  <a:pt x="0" y="111918"/>
                </a:lnTo>
                <a:lnTo>
                  <a:pt x="0" y="1"/>
                </a:lnTo>
                <a:lnTo>
                  <a:pt x="111913" y="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25" name="图片占位符 38"/>
          <p:cNvSpPr>
            <a:spLocks noGrp="1"/>
          </p:cNvSpPr>
          <p:nvPr>
            <p:ph type="pic" sz="quarter" idx="24"/>
          </p:nvPr>
        </p:nvSpPr>
        <p:spPr>
          <a:xfrm>
            <a:off x="6945807" y="3758225"/>
            <a:ext cx="1937400" cy="1941159"/>
          </a:xfrm>
          <a:custGeom>
            <a:avLst/>
            <a:gdLst>
              <a:gd name="connsiteX0" fmla="*/ 1 w 1636713"/>
              <a:gd name="connsiteY0" fmla="*/ 0 h 1639888"/>
              <a:gd name="connsiteX1" fmla="*/ 111918 w 1636713"/>
              <a:gd name="connsiteY1" fmla="*/ 0 h 1639888"/>
              <a:gd name="connsiteX2" fmla="*/ 535891 w 1636713"/>
              <a:gd name="connsiteY2" fmla="*/ 0 h 1639888"/>
              <a:gd name="connsiteX3" fmla="*/ 1524795 w 1636713"/>
              <a:gd name="connsiteY3" fmla="*/ 0 h 1639888"/>
              <a:gd name="connsiteX4" fmla="*/ 1636713 w 1636713"/>
              <a:gd name="connsiteY4" fmla="*/ 0 h 1639888"/>
              <a:gd name="connsiteX5" fmla="*/ 1636713 w 1636713"/>
              <a:gd name="connsiteY5" fmla="*/ 111918 h 1639888"/>
              <a:gd name="connsiteX6" fmla="*/ 1636713 w 1636713"/>
              <a:gd name="connsiteY6" fmla="*/ 1051455 h 1639888"/>
              <a:gd name="connsiteX7" fmla="*/ 1636713 w 1636713"/>
              <a:gd name="connsiteY7" fmla="*/ 1527970 h 1639888"/>
              <a:gd name="connsiteX8" fmla="*/ 1636713 w 1636713"/>
              <a:gd name="connsiteY8" fmla="*/ 1639888 h 1639888"/>
              <a:gd name="connsiteX9" fmla="*/ 1524795 w 1636713"/>
              <a:gd name="connsiteY9" fmla="*/ 1639888 h 1639888"/>
              <a:gd name="connsiteX10" fmla="*/ 535891 w 1636713"/>
              <a:gd name="connsiteY10" fmla="*/ 1639888 h 1639888"/>
              <a:gd name="connsiteX11" fmla="*/ 111918 w 1636713"/>
              <a:gd name="connsiteY11" fmla="*/ 1639888 h 1639888"/>
              <a:gd name="connsiteX12" fmla="*/ 0 w 1636713"/>
              <a:gd name="connsiteY12" fmla="*/ 1527970 h 1639888"/>
              <a:gd name="connsiteX13" fmla="*/ 0 w 1636713"/>
              <a:gd name="connsiteY13" fmla="*/ 111918 h 1639888"/>
              <a:gd name="connsiteX14" fmla="*/ 1 w 1636713"/>
              <a:gd name="connsiteY14" fmla="*/ 111913 h 16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36713" h="1639888">
                <a:moveTo>
                  <a:pt x="1" y="0"/>
                </a:moveTo>
                <a:lnTo>
                  <a:pt x="111918" y="0"/>
                </a:lnTo>
                <a:lnTo>
                  <a:pt x="535891" y="0"/>
                </a:lnTo>
                <a:lnTo>
                  <a:pt x="1524795" y="0"/>
                </a:lnTo>
                <a:lnTo>
                  <a:pt x="1636713" y="0"/>
                </a:lnTo>
                <a:lnTo>
                  <a:pt x="1636713" y="111918"/>
                </a:lnTo>
                <a:lnTo>
                  <a:pt x="1636713" y="1051455"/>
                </a:lnTo>
                <a:lnTo>
                  <a:pt x="1636713" y="1527970"/>
                </a:lnTo>
                <a:lnTo>
                  <a:pt x="1636713" y="1639888"/>
                </a:lnTo>
                <a:lnTo>
                  <a:pt x="1524795" y="1639888"/>
                </a:lnTo>
                <a:lnTo>
                  <a:pt x="535891" y="1639888"/>
                </a:lnTo>
                <a:lnTo>
                  <a:pt x="111918" y="1639888"/>
                </a:lnTo>
                <a:cubicBezTo>
                  <a:pt x="50107" y="1639888"/>
                  <a:pt x="0" y="1589781"/>
                  <a:pt x="0" y="1527970"/>
                </a:cubicBezTo>
                <a:lnTo>
                  <a:pt x="0" y="111918"/>
                </a:lnTo>
                <a:lnTo>
                  <a:pt x="1" y="11191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26" name="图片占位符 48"/>
          <p:cNvSpPr>
            <a:spLocks noGrp="1"/>
          </p:cNvSpPr>
          <p:nvPr>
            <p:ph type="pic" sz="quarter" idx="27"/>
          </p:nvPr>
        </p:nvSpPr>
        <p:spPr>
          <a:xfrm>
            <a:off x="8920867" y="3758225"/>
            <a:ext cx="1937403" cy="1941159"/>
          </a:xfrm>
          <a:custGeom>
            <a:avLst/>
            <a:gdLst>
              <a:gd name="connsiteX0" fmla="*/ 0 w 1636714"/>
              <a:gd name="connsiteY0" fmla="*/ 0 h 1639888"/>
              <a:gd name="connsiteX1" fmla="*/ 111918 w 1636714"/>
              <a:gd name="connsiteY1" fmla="*/ 0 h 1639888"/>
              <a:gd name="connsiteX2" fmla="*/ 1524795 w 1636714"/>
              <a:gd name="connsiteY2" fmla="*/ 0 h 1639888"/>
              <a:gd name="connsiteX3" fmla="*/ 1636714 w 1636714"/>
              <a:gd name="connsiteY3" fmla="*/ 0 h 1639888"/>
              <a:gd name="connsiteX4" fmla="*/ 1636714 w 1636714"/>
              <a:gd name="connsiteY4" fmla="*/ 784485 h 1639888"/>
              <a:gd name="connsiteX5" fmla="*/ 1636713 w 1636714"/>
              <a:gd name="connsiteY5" fmla="*/ 784485 h 1639888"/>
              <a:gd name="connsiteX6" fmla="*/ 1636713 w 1636714"/>
              <a:gd name="connsiteY6" fmla="*/ 1527970 h 1639888"/>
              <a:gd name="connsiteX7" fmla="*/ 1524795 w 1636714"/>
              <a:gd name="connsiteY7" fmla="*/ 1639888 h 1639888"/>
              <a:gd name="connsiteX8" fmla="*/ 1122891 w 1636714"/>
              <a:gd name="connsiteY8" fmla="*/ 1639888 h 1639888"/>
              <a:gd name="connsiteX9" fmla="*/ 111918 w 1636714"/>
              <a:gd name="connsiteY9" fmla="*/ 1639888 h 1639888"/>
              <a:gd name="connsiteX10" fmla="*/ 0 w 1636714"/>
              <a:gd name="connsiteY10" fmla="*/ 1639888 h 1639888"/>
              <a:gd name="connsiteX11" fmla="*/ 0 w 1636714"/>
              <a:gd name="connsiteY11" fmla="*/ 1527970 h 1639888"/>
              <a:gd name="connsiteX12" fmla="*/ 0 w 1636714"/>
              <a:gd name="connsiteY12" fmla="*/ 831845 h 1639888"/>
              <a:gd name="connsiteX13" fmla="*/ 0 w 1636714"/>
              <a:gd name="connsiteY13" fmla="*/ 784485 h 1639888"/>
              <a:gd name="connsiteX14" fmla="*/ 0 w 1636714"/>
              <a:gd name="connsiteY14" fmla="*/ 111918 h 16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36714" h="1639888">
                <a:moveTo>
                  <a:pt x="0" y="0"/>
                </a:moveTo>
                <a:lnTo>
                  <a:pt x="111918" y="0"/>
                </a:lnTo>
                <a:lnTo>
                  <a:pt x="1524795" y="0"/>
                </a:lnTo>
                <a:lnTo>
                  <a:pt x="1636714" y="0"/>
                </a:lnTo>
                <a:lnTo>
                  <a:pt x="1636714" y="784485"/>
                </a:lnTo>
                <a:lnTo>
                  <a:pt x="1636713" y="784485"/>
                </a:lnTo>
                <a:lnTo>
                  <a:pt x="1636713" y="1527970"/>
                </a:lnTo>
                <a:cubicBezTo>
                  <a:pt x="1636713" y="1589781"/>
                  <a:pt x="1586606" y="1639888"/>
                  <a:pt x="1524795" y="1639888"/>
                </a:cubicBezTo>
                <a:lnTo>
                  <a:pt x="1122891" y="1639888"/>
                </a:lnTo>
                <a:lnTo>
                  <a:pt x="111918" y="1639888"/>
                </a:lnTo>
                <a:lnTo>
                  <a:pt x="0" y="1639888"/>
                </a:lnTo>
                <a:lnTo>
                  <a:pt x="0" y="1527970"/>
                </a:lnTo>
                <a:lnTo>
                  <a:pt x="0" y="831845"/>
                </a:lnTo>
                <a:lnTo>
                  <a:pt x="0" y="784485"/>
                </a:lnTo>
                <a:lnTo>
                  <a:pt x="0" y="11191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27" name="文本占位符 11"/>
          <p:cNvSpPr>
            <a:spLocks noGrp="1"/>
          </p:cNvSpPr>
          <p:nvPr>
            <p:ph type="body" sz="quarter" idx="22" hasCustomPrompt="1"/>
          </p:nvPr>
        </p:nvSpPr>
        <p:spPr>
          <a:xfrm>
            <a:off x="648000" y="1764000"/>
            <a:ext cx="5854400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字右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1" name="矩形 10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7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6945807" y="1764000"/>
            <a:ext cx="3912464" cy="39353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22" hasCustomPrompt="1"/>
          </p:nvPr>
        </p:nvSpPr>
        <p:spPr>
          <a:xfrm>
            <a:off x="648000" y="1764000"/>
            <a:ext cx="5854400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表右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矩形 9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22" hasCustomPrompt="1"/>
          </p:nvPr>
        </p:nvSpPr>
        <p:spPr>
          <a:xfrm>
            <a:off x="5023527" y="1764000"/>
            <a:ext cx="5834744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8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648000" y="1764000"/>
            <a:ext cx="3969915" cy="39353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上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矩形 9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5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648000" y="1764000"/>
            <a:ext cx="10210270" cy="39353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双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1" name="矩形 10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9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648000" y="1764000"/>
            <a:ext cx="5003272" cy="277492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0" name="图表占位符 13"/>
          <p:cNvSpPr>
            <a:spLocks noGrp="1"/>
          </p:cNvSpPr>
          <p:nvPr>
            <p:ph type="chart" sz="quarter" idx="23"/>
          </p:nvPr>
        </p:nvSpPr>
        <p:spPr>
          <a:xfrm>
            <a:off x="5930900" y="1764000"/>
            <a:ext cx="4927370" cy="277492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1" name="文本占位符 11"/>
          <p:cNvSpPr>
            <a:spLocks noGrp="1"/>
          </p:cNvSpPr>
          <p:nvPr>
            <p:ph type="body" sz="quarter" idx="26" hasCustomPrompt="1"/>
          </p:nvPr>
        </p:nvSpPr>
        <p:spPr>
          <a:xfrm>
            <a:off x="648000" y="4838526"/>
            <a:ext cx="10210270" cy="86085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9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20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648001" y="1764000"/>
            <a:ext cx="6654500" cy="277492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1" name="图表占位符 13"/>
          <p:cNvSpPr>
            <a:spLocks noGrp="1"/>
          </p:cNvSpPr>
          <p:nvPr>
            <p:ph type="chart" sz="quarter" idx="23"/>
          </p:nvPr>
        </p:nvSpPr>
        <p:spPr>
          <a:xfrm>
            <a:off x="7607072" y="1764000"/>
            <a:ext cx="3251199" cy="12363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2" name="图表占位符 13"/>
          <p:cNvSpPr>
            <a:spLocks noGrp="1"/>
          </p:cNvSpPr>
          <p:nvPr>
            <p:ph type="chart" sz="quarter" idx="25"/>
          </p:nvPr>
        </p:nvSpPr>
        <p:spPr>
          <a:xfrm>
            <a:off x="7607072" y="3299973"/>
            <a:ext cx="3251199" cy="12389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3" name="文本占位符 11"/>
          <p:cNvSpPr>
            <a:spLocks noGrp="1"/>
          </p:cNvSpPr>
          <p:nvPr>
            <p:ph type="body" sz="quarter" idx="26" hasCustomPrompt="1"/>
          </p:nvPr>
        </p:nvSpPr>
        <p:spPr>
          <a:xfrm>
            <a:off x="648000" y="4838526"/>
            <a:ext cx="10210270" cy="86085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三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9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grpSp>
        <p:nvGrpSpPr>
          <p:cNvPr id="45" name="组合 44"/>
          <p:cNvGrpSpPr/>
          <p:nvPr userDrawn="1"/>
        </p:nvGrpSpPr>
        <p:grpSpPr>
          <a:xfrm>
            <a:off x="9109729" y="2112864"/>
            <a:ext cx="1762683" cy="1762683"/>
            <a:chOff x="5074007" y="2605210"/>
            <a:chExt cx="1376915" cy="1376915"/>
          </a:xfrm>
        </p:grpSpPr>
        <p:sp>
          <p:nvSpPr>
            <p:cNvPr id="46" name="矩形 45"/>
            <p:cNvSpPr/>
            <p:nvPr/>
          </p:nvSpPr>
          <p:spPr>
            <a:xfrm>
              <a:off x="5074007" y="2605210"/>
              <a:ext cx="1376915" cy="1376915"/>
            </a:xfrm>
            <a:prstGeom prst="rect">
              <a:avLst/>
            </a:prstGeom>
            <a:solidFill>
              <a:srgbClr val="629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sp>
          <p:nvSpPr>
            <p:cNvPr id="47" name="Freeform 19"/>
            <p:cNvSpPr/>
            <p:nvPr/>
          </p:nvSpPr>
          <p:spPr bwMode="auto">
            <a:xfrm>
              <a:off x="6145159" y="3078509"/>
              <a:ext cx="150832" cy="145379"/>
            </a:xfrm>
            <a:custGeom>
              <a:avLst/>
              <a:gdLst>
                <a:gd name="T0" fmla="*/ 83 w 83"/>
                <a:gd name="T1" fmla="*/ 26 h 80"/>
                <a:gd name="T2" fmla="*/ 57 w 83"/>
                <a:gd name="T3" fmla="*/ 26 h 80"/>
                <a:gd name="T4" fmla="*/ 57 w 83"/>
                <a:gd name="T5" fmla="*/ 0 h 80"/>
                <a:gd name="T6" fmla="*/ 29 w 83"/>
                <a:gd name="T7" fmla="*/ 0 h 80"/>
                <a:gd name="T8" fmla="*/ 29 w 83"/>
                <a:gd name="T9" fmla="*/ 26 h 80"/>
                <a:gd name="T10" fmla="*/ 0 w 83"/>
                <a:gd name="T11" fmla="*/ 26 h 80"/>
                <a:gd name="T12" fmla="*/ 0 w 83"/>
                <a:gd name="T13" fmla="*/ 54 h 80"/>
                <a:gd name="T14" fmla="*/ 29 w 83"/>
                <a:gd name="T15" fmla="*/ 54 h 80"/>
                <a:gd name="T16" fmla="*/ 29 w 83"/>
                <a:gd name="T17" fmla="*/ 80 h 80"/>
                <a:gd name="T18" fmla="*/ 57 w 83"/>
                <a:gd name="T19" fmla="*/ 80 h 80"/>
                <a:gd name="T20" fmla="*/ 57 w 83"/>
                <a:gd name="T21" fmla="*/ 54 h 80"/>
                <a:gd name="T22" fmla="*/ 83 w 83"/>
                <a:gd name="T23" fmla="*/ 54 h 80"/>
                <a:gd name="T24" fmla="*/ 83 w 83"/>
                <a:gd name="T25" fmla="*/ 2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80">
                  <a:moveTo>
                    <a:pt x="83" y="26"/>
                  </a:moveTo>
                  <a:lnTo>
                    <a:pt x="57" y="26"/>
                  </a:lnTo>
                  <a:lnTo>
                    <a:pt x="57" y="0"/>
                  </a:lnTo>
                  <a:lnTo>
                    <a:pt x="29" y="0"/>
                  </a:lnTo>
                  <a:lnTo>
                    <a:pt x="29" y="26"/>
                  </a:lnTo>
                  <a:lnTo>
                    <a:pt x="0" y="26"/>
                  </a:lnTo>
                  <a:lnTo>
                    <a:pt x="0" y="54"/>
                  </a:lnTo>
                  <a:lnTo>
                    <a:pt x="29" y="54"/>
                  </a:lnTo>
                  <a:lnTo>
                    <a:pt x="29" y="80"/>
                  </a:lnTo>
                  <a:lnTo>
                    <a:pt x="57" y="80"/>
                  </a:lnTo>
                  <a:lnTo>
                    <a:pt x="57" y="54"/>
                  </a:lnTo>
                  <a:lnTo>
                    <a:pt x="83" y="54"/>
                  </a:lnTo>
                  <a:lnTo>
                    <a:pt x="83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48" name="Freeform 20"/>
            <p:cNvSpPr/>
            <p:nvPr/>
          </p:nvSpPr>
          <p:spPr bwMode="auto">
            <a:xfrm>
              <a:off x="6099726" y="3274770"/>
              <a:ext cx="143562" cy="243510"/>
            </a:xfrm>
            <a:custGeom>
              <a:avLst/>
              <a:gdLst>
                <a:gd name="T0" fmla="*/ 17 w 25"/>
                <a:gd name="T1" fmla="*/ 25 h 42"/>
                <a:gd name="T2" fmla="*/ 8 w 25"/>
                <a:gd name="T3" fmla="*/ 34 h 42"/>
                <a:gd name="T4" fmla="*/ 5 w 25"/>
                <a:gd name="T5" fmla="*/ 34 h 42"/>
                <a:gd name="T6" fmla="*/ 0 w 25"/>
                <a:gd name="T7" fmla="*/ 38 h 42"/>
                <a:gd name="T8" fmla="*/ 5 w 25"/>
                <a:gd name="T9" fmla="*/ 42 h 42"/>
                <a:gd name="T10" fmla="*/ 8 w 25"/>
                <a:gd name="T11" fmla="*/ 42 h 42"/>
                <a:gd name="T12" fmla="*/ 25 w 25"/>
                <a:gd name="T13" fmla="*/ 25 h 42"/>
                <a:gd name="T14" fmla="*/ 25 w 25"/>
                <a:gd name="T15" fmla="*/ 0 h 42"/>
                <a:gd name="T16" fmla="*/ 17 w 25"/>
                <a:gd name="T17" fmla="*/ 0 h 42"/>
                <a:gd name="T18" fmla="*/ 17 w 25"/>
                <a:gd name="T19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42">
                  <a:moveTo>
                    <a:pt x="17" y="25"/>
                  </a:moveTo>
                  <a:cubicBezTo>
                    <a:pt x="17" y="30"/>
                    <a:pt x="13" y="34"/>
                    <a:pt x="8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2" y="34"/>
                    <a:pt x="0" y="36"/>
                    <a:pt x="0" y="38"/>
                  </a:cubicBezTo>
                  <a:cubicBezTo>
                    <a:pt x="0" y="41"/>
                    <a:pt x="2" y="42"/>
                    <a:pt x="5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18" y="42"/>
                    <a:pt x="25" y="35"/>
                    <a:pt x="25" y="25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7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49" name="Freeform 21"/>
            <p:cNvSpPr/>
            <p:nvPr/>
          </p:nvSpPr>
          <p:spPr bwMode="auto">
            <a:xfrm>
              <a:off x="5076621" y="2847719"/>
              <a:ext cx="1166668" cy="179908"/>
            </a:xfrm>
            <a:custGeom>
              <a:avLst/>
              <a:gdLst>
                <a:gd name="T0" fmla="*/ 186 w 203"/>
                <a:gd name="T1" fmla="*/ 0 h 31"/>
                <a:gd name="T2" fmla="*/ 0 w 203"/>
                <a:gd name="T3" fmla="*/ 0 h 31"/>
                <a:gd name="T4" fmla="*/ 0 w 203"/>
                <a:gd name="T5" fmla="*/ 9 h 31"/>
                <a:gd name="T6" fmla="*/ 186 w 203"/>
                <a:gd name="T7" fmla="*/ 9 h 31"/>
                <a:gd name="T8" fmla="*/ 195 w 203"/>
                <a:gd name="T9" fmla="*/ 17 h 31"/>
                <a:gd name="T10" fmla="*/ 195 w 203"/>
                <a:gd name="T11" fmla="*/ 31 h 31"/>
                <a:gd name="T12" fmla="*/ 203 w 203"/>
                <a:gd name="T13" fmla="*/ 31 h 31"/>
                <a:gd name="T14" fmla="*/ 203 w 203"/>
                <a:gd name="T15" fmla="*/ 17 h 31"/>
                <a:gd name="T16" fmla="*/ 186 w 203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31">
                  <a:moveTo>
                    <a:pt x="1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91" y="9"/>
                    <a:pt x="195" y="13"/>
                    <a:pt x="195" y="17"/>
                  </a:cubicBezTo>
                  <a:cubicBezTo>
                    <a:pt x="195" y="31"/>
                    <a:pt x="195" y="31"/>
                    <a:pt x="195" y="31"/>
                  </a:cubicBezTo>
                  <a:cubicBezTo>
                    <a:pt x="203" y="31"/>
                    <a:pt x="203" y="31"/>
                    <a:pt x="203" y="31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203" y="8"/>
                    <a:pt x="196" y="0"/>
                    <a:pt x="18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0" name="Freeform 22"/>
            <p:cNvSpPr>
              <a:spLocks noEditPoints="1"/>
            </p:cNvSpPr>
            <p:nvPr/>
          </p:nvSpPr>
          <p:spPr bwMode="auto">
            <a:xfrm>
              <a:off x="5278335" y="3580066"/>
              <a:ext cx="648756" cy="278039"/>
            </a:xfrm>
            <a:custGeom>
              <a:avLst/>
              <a:gdLst>
                <a:gd name="T0" fmla="*/ 113 w 113"/>
                <a:gd name="T1" fmla="*/ 31 h 48"/>
                <a:gd name="T2" fmla="*/ 95 w 113"/>
                <a:gd name="T3" fmla="*/ 12 h 48"/>
                <a:gd name="T4" fmla="*/ 70 w 113"/>
                <a:gd name="T5" fmla="*/ 2 h 48"/>
                <a:gd name="T6" fmla="*/ 55 w 113"/>
                <a:gd name="T7" fmla="*/ 0 h 48"/>
                <a:gd name="T8" fmla="*/ 42 w 113"/>
                <a:gd name="T9" fmla="*/ 2 h 48"/>
                <a:gd name="T10" fmla="*/ 18 w 113"/>
                <a:gd name="T11" fmla="*/ 12 h 48"/>
                <a:gd name="T12" fmla="*/ 0 w 113"/>
                <a:gd name="T13" fmla="*/ 31 h 48"/>
                <a:gd name="T14" fmla="*/ 1 w 113"/>
                <a:gd name="T15" fmla="*/ 34 h 48"/>
                <a:gd name="T16" fmla="*/ 58 w 113"/>
                <a:gd name="T17" fmla="*/ 48 h 48"/>
                <a:gd name="T18" fmla="*/ 110 w 113"/>
                <a:gd name="T19" fmla="*/ 38 h 48"/>
                <a:gd name="T20" fmla="*/ 113 w 113"/>
                <a:gd name="T21" fmla="*/ 32 h 48"/>
                <a:gd name="T22" fmla="*/ 113 w 113"/>
                <a:gd name="T23" fmla="*/ 31 h 48"/>
                <a:gd name="T24" fmla="*/ 58 w 113"/>
                <a:gd name="T25" fmla="*/ 40 h 48"/>
                <a:gd name="T26" fmla="*/ 9 w 113"/>
                <a:gd name="T27" fmla="*/ 31 h 48"/>
                <a:gd name="T28" fmla="*/ 22 w 113"/>
                <a:gd name="T29" fmla="*/ 19 h 48"/>
                <a:gd name="T30" fmla="*/ 44 w 113"/>
                <a:gd name="T31" fmla="*/ 10 h 48"/>
                <a:gd name="T32" fmla="*/ 45 w 113"/>
                <a:gd name="T33" fmla="*/ 10 h 48"/>
                <a:gd name="T34" fmla="*/ 55 w 113"/>
                <a:gd name="T35" fmla="*/ 9 h 48"/>
                <a:gd name="T36" fmla="*/ 69 w 113"/>
                <a:gd name="T37" fmla="*/ 10 h 48"/>
                <a:gd name="T38" fmla="*/ 90 w 113"/>
                <a:gd name="T39" fmla="*/ 19 h 48"/>
                <a:gd name="T40" fmla="*/ 104 w 113"/>
                <a:gd name="T41" fmla="*/ 32 h 48"/>
                <a:gd name="T42" fmla="*/ 58 w 113"/>
                <a:gd name="T43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3" h="48">
                  <a:moveTo>
                    <a:pt x="113" y="31"/>
                  </a:moveTo>
                  <a:cubicBezTo>
                    <a:pt x="111" y="24"/>
                    <a:pt x="105" y="18"/>
                    <a:pt x="95" y="12"/>
                  </a:cubicBezTo>
                  <a:cubicBezTo>
                    <a:pt x="86" y="6"/>
                    <a:pt x="75" y="3"/>
                    <a:pt x="70" y="2"/>
                  </a:cubicBezTo>
                  <a:cubicBezTo>
                    <a:pt x="65" y="1"/>
                    <a:pt x="60" y="0"/>
                    <a:pt x="55" y="0"/>
                  </a:cubicBezTo>
                  <a:cubicBezTo>
                    <a:pt x="48" y="0"/>
                    <a:pt x="43" y="1"/>
                    <a:pt x="42" y="2"/>
                  </a:cubicBezTo>
                  <a:cubicBezTo>
                    <a:pt x="37" y="3"/>
                    <a:pt x="27" y="7"/>
                    <a:pt x="18" y="12"/>
                  </a:cubicBezTo>
                  <a:cubicBezTo>
                    <a:pt x="8" y="18"/>
                    <a:pt x="2" y="24"/>
                    <a:pt x="0" y="31"/>
                  </a:cubicBezTo>
                  <a:cubicBezTo>
                    <a:pt x="0" y="32"/>
                    <a:pt x="0" y="33"/>
                    <a:pt x="1" y="34"/>
                  </a:cubicBezTo>
                  <a:cubicBezTo>
                    <a:pt x="2" y="36"/>
                    <a:pt x="10" y="48"/>
                    <a:pt x="58" y="48"/>
                  </a:cubicBezTo>
                  <a:cubicBezTo>
                    <a:pt x="86" y="48"/>
                    <a:pt x="104" y="45"/>
                    <a:pt x="110" y="38"/>
                  </a:cubicBezTo>
                  <a:cubicBezTo>
                    <a:pt x="113" y="35"/>
                    <a:pt x="113" y="32"/>
                    <a:pt x="113" y="32"/>
                  </a:cubicBezTo>
                  <a:cubicBezTo>
                    <a:pt x="113" y="31"/>
                    <a:pt x="113" y="31"/>
                    <a:pt x="113" y="31"/>
                  </a:cubicBezTo>
                  <a:close/>
                  <a:moveTo>
                    <a:pt x="58" y="40"/>
                  </a:moveTo>
                  <a:cubicBezTo>
                    <a:pt x="24" y="40"/>
                    <a:pt x="13" y="34"/>
                    <a:pt x="9" y="31"/>
                  </a:cubicBezTo>
                  <a:cubicBezTo>
                    <a:pt x="11" y="28"/>
                    <a:pt x="14" y="24"/>
                    <a:pt x="22" y="19"/>
                  </a:cubicBezTo>
                  <a:cubicBezTo>
                    <a:pt x="31" y="14"/>
                    <a:pt x="41" y="10"/>
                    <a:pt x="44" y="10"/>
                  </a:cubicBezTo>
                  <a:cubicBezTo>
                    <a:pt x="44" y="10"/>
                    <a:pt x="44" y="10"/>
                    <a:pt x="45" y="10"/>
                  </a:cubicBezTo>
                  <a:cubicBezTo>
                    <a:pt x="45" y="10"/>
                    <a:pt x="48" y="9"/>
                    <a:pt x="55" y="9"/>
                  </a:cubicBezTo>
                  <a:cubicBezTo>
                    <a:pt x="59" y="9"/>
                    <a:pt x="64" y="9"/>
                    <a:pt x="69" y="10"/>
                  </a:cubicBezTo>
                  <a:cubicBezTo>
                    <a:pt x="72" y="11"/>
                    <a:pt x="82" y="14"/>
                    <a:pt x="90" y="19"/>
                  </a:cubicBezTo>
                  <a:cubicBezTo>
                    <a:pt x="99" y="25"/>
                    <a:pt x="103" y="29"/>
                    <a:pt x="104" y="32"/>
                  </a:cubicBezTo>
                  <a:cubicBezTo>
                    <a:pt x="102" y="34"/>
                    <a:pt x="94" y="40"/>
                    <a:pt x="58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1" name="Freeform 23"/>
            <p:cNvSpPr>
              <a:spLocks noEditPoints="1"/>
            </p:cNvSpPr>
            <p:nvPr/>
          </p:nvSpPr>
          <p:spPr bwMode="auto">
            <a:xfrm>
              <a:off x="5450971" y="3263867"/>
              <a:ext cx="298027" cy="305295"/>
            </a:xfrm>
            <a:custGeom>
              <a:avLst/>
              <a:gdLst>
                <a:gd name="T0" fmla="*/ 0 w 52"/>
                <a:gd name="T1" fmla="*/ 26 h 53"/>
                <a:gd name="T2" fmla="*/ 26 w 52"/>
                <a:gd name="T3" fmla="*/ 53 h 53"/>
                <a:gd name="T4" fmla="*/ 52 w 52"/>
                <a:gd name="T5" fmla="*/ 26 h 53"/>
                <a:gd name="T6" fmla="*/ 26 w 52"/>
                <a:gd name="T7" fmla="*/ 0 h 53"/>
                <a:gd name="T8" fmla="*/ 0 w 52"/>
                <a:gd name="T9" fmla="*/ 26 h 53"/>
                <a:gd name="T10" fmla="*/ 26 w 52"/>
                <a:gd name="T11" fmla="*/ 9 h 53"/>
                <a:gd name="T12" fmla="*/ 44 w 52"/>
                <a:gd name="T13" fmla="*/ 26 h 53"/>
                <a:gd name="T14" fmla="*/ 26 w 52"/>
                <a:gd name="T15" fmla="*/ 44 h 53"/>
                <a:gd name="T16" fmla="*/ 9 w 52"/>
                <a:gd name="T17" fmla="*/ 26 h 53"/>
                <a:gd name="T18" fmla="*/ 26 w 52"/>
                <a:gd name="T19" fmla="*/ 9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3">
                  <a:moveTo>
                    <a:pt x="0" y="26"/>
                  </a:moveTo>
                  <a:cubicBezTo>
                    <a:pt x="0" y="41"/>
                    <a:pt x="12" y="53"/>
                    <a:pt x="26" y="53"/>
                  </a:cubicBezTo>
                  <a:cubicBezTo>
                    <a:pt x="41" y="53"/>
                    <a:pt x="52" y="41"/>
                    <a:pt x="52" y="26"/>
                  </a:cubicBezTo>
                  <a:cubicBezTo>
                    <a:pt x="52" y="12"/>
                    <a:pt x="41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lose/>
                  <a:moveTo>
                    <a:pt x="26" y="9"/>
                  </a:moveTo>
                  <a:cubicBezTo>
                    <a:pt x="36" y="9"/>
                    <a:pt x="44" y="17"/>
                    <a:pt x="44" y="26"/>
                  </a:cubicBezTo>
                  <a:cubicBezTo>
                    <a:pt x="44" y="36"/>
                    <a:pt x="36" y="44"/>
                    <a:pt x="26" y="44"/>
                  </a:cubicBezTo>
                  <a:cubicBezTo>
                    <a:pt x="17" y="44"/>
                    <a:pt x="9" y="36"/>
                    <a:pt x="9" y="26"/>
                  </a:cubicBezTo>
                  <a:cubicBezTo>
                    <a:pt x="9" y="17"/>
                    <a:pt x="17" y="9"/>
                    <a:pt x="26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2" name="Freeform 24"/>
            <p:cNvSpPr>
              <a:spLocks noEditPoints="1"/>
            </p:cNvSpPr>
            <p:nvPr/>
          </p:nvSpPr>
          <p:spPr bwMode="auto">
            <a:xfrm>
              <a:off x="5076621" y="3229341"/>
              <a:ext cx="408879" cy="461578"/>
            </a:xfrm>
            <a:custGeom>
              <a:avLst/>
              <a:gdLst>
                <a:gd name="T0" fmla="*/ 69 w 71"/>
                <a:gd name="T1" fmla="*/ 53 h 80"/>
                <a:gd name="T2" fmla="*/ 46 w 71"/>
                <a:gd name="T3" fmla="*/ 43 h 80"/>
                <a:gd name="T4" fmla="*/ 38 w 71"/>
                <a:gd name="T5" fmla="*/ 42 h 80"/>
                <a:gd name="T6" fmla="*/ 56 w 71"/>
                <a:gd name="T7" fmla="*/ 21 h 80"/>
                <a:gd name="T8" fmla="*/ 36 w 71"/>
                <a:gd name="T9" fmla="*/ 0 h 80"/>
                <a:gd name="T10" fmla="*/ 15 w 71"/>
                <a:gd name="T11" fmla="*/ 21 h 80"/>
                <a:gd name="T12" fmla="*/ 33 w 71"/>
                <a:gd name="T13" fmla="*/ 42 h 80"/>
                <a:gd name="T14" fmla="*/ 25 w 71"/>
                <a:gd name="T15" fmla="*/ 43 h 80"/>
                <a:gd name="T16" fmla="*/ 6 w 71"/>
                <a:gd name="T17" fmla="*/ 51 h 80"/>
                <a:gd name="T18" fmla="*/ 0 w 71"/>
                <a:gd name="T19" fmla="*/ 55 h 80"/>
                <a:gd name="T20" fmla="*/ 0 w 71"/>
                <a:gd name="T21" fmla="*/ 74 h 80"/>
                <a:gd name="T22" fmla="*/ 38 w 71"/>
                <a:gd name="T23" fmla="*/ 80 h 80"/>
                <a:gd name="T24" fmla="*/ 42 w 71"/>
                <a:gd name="T25" fmla="*/ 76 h 80"/>
                <a:gd name="T26" fmla="*/ 38 w 71"/>
                <a:gd name="T27" fmla="*/ 71 h 80"/>
                <a:gd name="T28" fmla="*/ 2 w 71"/>
                <a:gd name="T29" fmla="*/ 66 h 80"/>
                <a:gd name="T30" fmla="*/ 11 w 71"/>
                <a:gd name="T31" fmla="*/ 58 h 80"/>
                <a:gd name="T32" fmla="*/ 26 w 71"/>
                <a:gd name="T33" fmla="*/ 51 h 80"/>
                <a:gd name="T34" fmla="*/ 27 w 71"/>
                <a:gd name="T35" fmla="*/ 51 h 80"/>
                <a:gd name="T36" fmla="*/ 45 w 71"/>
                <a:gd name="T37" fmla="*/ 51 h 80"/>
                <a:gd name="T38" fmla="*/ 64 w 71"/>
                <a:gd name="T39" fmla="*/ 60 h 80"/>
                <a:gd name="T40" fmla="*/ 70 w 71"/>
                <a:gd name="T41" fmla="*/ 59 h 80"/>
                <a:gd name="T42" fmla="*/ 69 w 71"/>
                <a:gd name="T43" fmla="*/ 53 h 80"/>
                <a:gd name="T44" fmla="*/ 23 w 71"/>
                <a:gd name="T45" fmla="*/ 21 h 80"/>
                <a:gd name="T46" fmla="*/ 36 w 71"/>
                <a:gd name="T47" fmla="*/ 9 h 80"/>
                <a:gd name="T48" fmla="*/ 48 w 71"/>
                <a:gd name="T49" fmla="*/ 21 h 80"/>
                <a:gd name="T50" fmla="*/ 36 w 71"/>
                <a:gd name="T51" fmla="*/ 33 h 80"/>
                <a:gd name="T52" fmla="*/ 23 w 71"/>
                <a:gd name="T53" fmla="*/ 2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" h="80">
                  <a:moveTo>
                    <a:pt x="69" y="53"/>
                  </a:moveTo>
                  <a:cubicBezTo>
                    <a:pt x="61" y="48"/>
                    <a:pt x="50" y="43"/>
                    <a:pt x="46" y="43"/>
                  </a:cubicBezTo>
                  <a:cubicBezTo>
                    <a:pt x="43" y="42"/>
                    <a:pt x="40" y="42"/>
                    <a:pt x="38" y="42"/>
                  </a:cubicBezTo>
                  <a:cubicBezTo>
                    <a:pt x="48" y="41"/>
                    <a:pt x="56" y="32"/>
                    <a:pt x="56" y="21"/>
                  </a:cubicBezTo>
                  <a:cubicBezTo>
                    <a:pt x="56" y="10"/>
                    <a:pt x="47" y="0"/>
                    <a:pt x="36" y="0"/>
                  </a:cubicBezTo>
                  <a:cubicBezTo>
                    <a:pt x="24" y="0"/>
                    <a:pt x="15" y="10"/>
                    <a:pt x="15" y="21"/>
                  </a:cubicBezTo>
                  <a:cubicBezTo>
                    <a:pt x="15" y="32"/>
                    <a:pt x="23" y="40"/>
                    <a:pt x="33" y="42"/>
                  </a:cubicBezTo>
                  <a:cubicBezTo>
                    <a:pt x="29" y="42"/>
                    <a:pt x="26" y="42"/>
                    <a:pt x="25" y="43"/>
                  </a:cubicBezTo>
                  <a:cubicBezTo>
                    <a:pt x="21" y="43"/>
                    <a:pt x="13" y="47"/>
                    <a:pt x="6" y="51"/>
                  </a:cubicBezTo>
                  <a:cubicBezTo>
                    <a:pt x="4" y="52"/>
                    <a:pt x="1" y="54"/>
                    <a:pt x="0" y="5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6" y="77"/>
                    <a:pt x="17" y="80"/>
                    <a:pt x="38" y="80"/>
                  </a:cubicBezTo>
                  <a:cubicBezTo>
                    <a:pt x="40" y="80"/>
                    <a:pt x="42" y="78"/>
                    <a:pt x="42" y="76"/>
                  </a:cubicBezTo>
                  <a:cubicBezTo>
                    <a:pt x="42" y="73"/>
                    <a:pt x="40" y="71"/>
                    <a:pt x="38" y="71"/>
                  </a:cubicBezTo>
                  <a:cubicBezTo>
                    <a:pt x="14" y="71"/>
                    <a:pt x="5" y="68"/>
                    <a:pt x="2" y="66"/>
                  </a:cubicBezTo>
                  <a:cubicBezTo>
                    <a:pt x="3" y="64"/>
                    <a:pt x="5" y="61"/>
                    <a:pt x="11" y="58"/>
                  </a:cubicBezTo>
                  <a:cubicBezTo>
                    <a:pt x="17" y="54"/>
                    <a:pt x="24" y="51"/>
                    <a:pt x="26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7" y="51"/>
                    <a:pt x="33" y="49"/>
                    <a:pt x="45" y="51"/>
                  </a:cubicBezTo>
                  <a:cubicBezTo>
                    <a:pt x="47" y="51"/>
                    <a:pt x="57" y="55"/>
                    <a:pt x="64" y="60"/>
                  </a:cubicBezTo>
                  <a:cubicBezTo>
                    <a:pt x="66" y="61"/>
                    <a:pt x="69" y="61"/>
                    <a:pt x="70" y="59"/>
                  </a:cubicBezTo>
                  <a:cubicBezTo>
                    <a:pt x="71" y="57"/>
                    <a:pt x="71" y="54"/>
                    <a:pt x="69" y="53"/>
                  </a:cubicBezTo>
                  <a:close/>
                  <a:moveTo>
                    <a:pt x="23" y="21"/>
                  </a:moveTo>
                  <a:cubicBezTo>
                    <a:pt x="23" y="14"/>
                    <a:pt x="29" y="9"/>
                    <a:pt x="36" y="9"/>
                  </a:cubicBezTo>
                  <a:cubicBezTo>
                    <a:pt x="42" y="9"/>
                    <a:pt x="48" y="14"/>
                    <a:pt x="48" y="21"/>
                  </a:cubicBezTo>
                  <a:cubicBezTo>
                    <a:pt x="48" y="28"/>
                    <a:pt x="42" y="33"/>
                    <a:pt x="36" y="33"/>
                  </a:cubicBezTo>
                  <a:cubicBezTo>
                    <a:pt x="29" y="33"/>
                    <a:pt x="23" y="28"/>
                    <a:pt x="23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3" name="Freeform 25"/>
            <p:cNvSpPr>
              <a:spLocks noEditPoints="1"/>
            </p:cNvSpPr>
            <p:nvPr/>
          </p:nvSpPr>
          <p:spPr bwMode="auto">
            <a:xfrm>
              <a:off x="5738096" y="3229341"/>
              <a:ext cx="425234" cy="461578"/>
            </a:xfrm>
            <a:custGeom>
              <a:avLst/>
              <a:gdLst>
                <a:gd name="T0" fmla="*/ 60 w 74"/>
                <a:gd name="T1" fmla="*/ 51 h 80"/>
                <a:gd name="T2" fmla="*/ 42 w 74"/>
                <a:gd name="T3" fmla="*/ 43 h 80"/>
                <a:gd name="T4" fmla="*/ 33 w 74"/>
                <a:gd name="T5" fmla="*/ 42 h 80"/>
                <a:gd name="T6" fmla="*/ 51 w 74"/>
                <a:gd name="T7" fmla="*/ 21 h 80"/>
                <a:gd name="T8" fmla="*/ 31 w 74"/>
                <a:gd name="T9" fmla="*/ 0 h 80"/>
                <a:gd name="T10" fmla="*/ 10 w 74"/>
                <a:gd name="T11" fmla="*/ 21 h 80"/>
                <a:gd name="T12" fmla="*/ 28 w 74"/>
                <a:gd name="T13" fmla="*/ 42 h 80"/>
                <a:gd name="T14" fmla="*/ 20 w 74"/>
                <a:gd name="T15" fmla="*/ 43 h 80"/>
                <a:gd name="T16" fmla="*/ 2 w 74"/>
                <a:gd name="T17" fmla="*/ 50 h 80"/>
                <a:gd name="T18" fmla="*/ 1 w 74"/>
                <a:gd name="T19" fmla="*/ 56 h 80"/>
                <a:gd name="T20" fmla="*/ 7 w 74"/>
                <a:gd name="T21" fmla="*/ 57 h 80"/>
                <a:gd name="T22" fmla="*/ 21 w 74"/>
                <a:gd name="T23" fmla="*/ 51 h 80"/>
                <a:gd name="T24" fmla="*/ 39 w 74"/>
                <a:gd name="T25" fmla="*/ 51 h 80"/>
                <a:gd name="T26" fmla="*/ 40 w 74"/>
                <a:gd name="T27" fmla="*/ 51 h 80"/>
                <a:gd name="T28" fmla="*/ 56 w 74"/>
                <a:gd name="T29" fmla="*/ 58 h 80"/>
                <a:gd name="T30" fmla="*/ 65 w 74"/>
                <a:gd name="T31" fmla="*/ 66 h 80"/>
                <a:gd name="T32" fmla="*/ 35 w 74"/>
                <a:gd name="T33" fmla="*/ 71 h 80"/>
                <a:gd name="T34" fmla="*/ 31 w 74"/>
                <a:gd name="T35" fmla="*/ 76 h 80"/>
                <a:gd name="T36" fmla="*/ 35 w 74"/>
                <a:gd name="T37" fmla="*/ 80 h 80"/>
                <a:gd name="T38" fmla="*/ 35 w 74"/>
                <a:gd name="T39" fmla="*/ 80 h 80"/>
                <a:gd name="T40" fmla="*/ 74 w 74"/>
                <a:gd name="T41" fmla="*/ 68 h 80"/>
                <a:gd name="T42" fmla="*/ 74 w 74"/>
                <a:gd name="T43" fmla="*/ 65 h 80"/>
                <a:gd name="T44" fmla="*/ 60 w 74"/>
                <a:gd name="T45" fmla="*/ 51 h 80"/>
                <a:gd name="T46" fmla="*/ 18 w 74"/>
                <a:gd name="T47" fmla="*/ 21 h 80"/>
                <a:gd name="T48" fmla="*/ 31 w 74"/>
                <a:gd name="T49" fmla="*/ 9 h 80"/>
                <a:gd name="T50" fmla="*/ 43 w 74"/>
                <a:gd name="T51" fmla="*/ 21 h 80"/>
                <a:gd name="T52" fmla="*/ 31 w 74"/>
                <a:gd name="T53" fmla="*/ 33 h 80"/>
                <a:gd name="T54" fmla="*/ 18 w 74"/>
                <a:gd name="T55" fmla="*/ 2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4" h="80">
                  <a:moveTo>
                    <a:pt x="60" y="51"/>
                  </a:moveTo>
                  <a:cubicBezTo>
                    <a:pt x="53" y="47"/>
                    <a:pt x="45" y="43"/>
                    <a:pt x="42" y="43"/>
                  </a:cubicBezTo>
                  <a:cubicBezTo>
                    <a:pt x="40" y="42"/>
                    <a:pt x="38" y="42"/>
                    <a:pt x="33" y="42"/>
                  </a:cubicBezTo>
                  <a:cubicBezTo>
                    <a:pt x="43" y="40"/>
                    <a:pt x="51" y="32"/>
                    <a:pt x="51" y="21"/>
                  </a:cubicBezTo>
                  <a:cubicBezTo>
                    <a:pt x="51" y="10"/>
                    <a:pt x="42" y="0"/>
                    <a:pt x="31" y="0"/>
                  </a:cubicBezTo>
                  <a:cubicBezTo>
                    <a:pt x="19" y="0"/>
                    <a:pt x="10" y="10"/>
                    <a:pt x="10" y="21"/>
                  </a:cubicBezTo>
                  <a:cubicBezTo>
                    <a:pt x="10" y="32"/>
                    <a:pt x="18" y="41"/>
                    <a:pt x="28" y="42"/>
                  </a:cubicBezTo>
                  <a:cubicBezTo>
                    <a:pt x="26" y="42"/>
                    <a:pt x="23" y="42"/>
                    <a:pt x="20" y="43"/>
                  </a:cubicBezTo>
                  <a:cubicBezTo>
                    <a:pt x="17" y="43"/>
                    <a:pt x="10" y="46"/>
                    <a:pt x="2" y="50"/>
                  </a:cubicBezTo>
                  <a:cubicBezTo>
                    <a:pt x="0" y="51"/>
                    <a:pt x="0" y="54"/>
                    <a:pt x="1" y="56"/>
                  </a:cubicBezTo>
                  <a:cubicBezTo>
                    <a:pt x="2" y="58"/>
                    <a:pt x="5" y="59"/>
                    <a:pt x="7" y="57"/>
                  </a:cubicBezTo>
                  <a:cubicBezTo>
                    <a:pt x="13" y="54"/>
                    <a:pt x="19" y="51"/>
                    <a:pt x="21" y="51"/>
                  </a:cubicBezTo>
                  <a:cubicBezTo>
                    <a:pt x="33" y="49"/>
                    <a:pt x="39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2" y="51"/>
                    <a:pt x="49" y="54"/>
                    <a:pt x="56" y="58"/>
                  </a:cubicBezTo>
                  <a:cubicBezTo>
                    <a:pt x="61" y="61"/>
                    <a:pt x="64" y="64"/>
                    <a:pt x="65" y="66"/>
                  </a:cubicBezTo>
                  <a:cubicBezTo>
                    <a:pt x="62" y="67"/>
                    <a:pt x="55" y="71"/>
                    <a:pt x="35" y="71"/>
                  </a:cubicBezTo>
                  <a:cubicBezTo>
                    <a:pt x="32" y="71"/>
                    <a:pt x="31" y="73"/>
                    <a:pt x="31" y="76"/>
                  </a:cubicBezTo>
                  <a:cubicBezTo>
                    <a:pt x="31" y="78"/>
                    <a:pt x="32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68" y="79"/>
                    <a:pt x="73" y="70"/>
                    <a:pt x="74" y="68"/>
                  </a:cubicBezTo>
                  <a:cubicBezTo>
                    <a:pt x="74" y="67"/>
                    <a:pt x="74" y="66"/>
                    <a:pt x="74" y="65"/>
                  </a:cubicBezTo>
                  <a:cubicBezTo>
                    <a:pt x="72" y="60"/>
                    <a:pt x="68" y="55"/>
                    <a:pt x="60" y="51"/>
                  </a:cubicBezTo>
                  <a:close/>
                  <a:moveTo>
                    <a:pt x="18" y="21"/>
                  </a:moveTo>
                  <a:cubicBezTo>
                    <a:pt x="18" y="14"/>
                    <a:pt x="24" y="9"/>
                    <a:pt x="31" y="9"/>
                  </a:cubicBezTo>
                  <a:cubicBezTo>
                    <a:pt x="37" y="9"/>
                    <a:pt x="43" y="14"/>
                    <a:pt x="43" y="21"/>
                  </a:cubicBezTo>
                  <a:cubicBezTo>
                    <a:pt x="43" y="28"/>
                    <a:pt x="37" y="33"/>
                    <a:pt x="31" y="33"/>
                  </a:cubicBezTo>
                  <a:cubicBezTo>
                    <a:pt x="24" y="33"/>
                    <a:pt x="18" y="28"/>
                    <a:pt x="18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</p:grpSp>
      <p:grpSp>
        <p:nvGrpSpPr>
          <p:cNvPr id="54" name="组合 53"/>
          <p:cNvGrpSpPr/>
          <p:nvPr userDrawn="1"/>
        </p:nvGrpSpPr>
        <p:grpSpPr>
          <a:xfrm>
            <a:off x="6325263" y="2118575"/>
            <a:ext cx="1762683" cy="1762683"/>
            <a:chOff x="7254587" y="2605210"/>
            <a:chExt cx="1376915" cy="1376915"/>
          </a:xfrm>
        </p:grpSpPr>
        <p:sp>
          <p:nvSpPr>
            <p:cNvPr id="55" name="矩形 54"/>
            <p:cNvSpPr/>
            <p:nvPr/>
          </p:nvSpPr>
          <p:spPr>
            <a:xfrm>
              <a:off x="7254587" y="2605210"/>
              <a:ext cx="1376915" cy="1376915"/>
            </a:xfrm>
            <a:prstGeom prst="rect">
              <a:avLst/>
            </a:prstGeom>
            <a:solidFill>
              <a:srgbClr val="A1A1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grpSp>
          <p:nvGrpSpPr>
            <p:cNvPr id="56" name="组合 55"/>
            <p:cNvGrpSpPr/>
            <p:nvPr/>
          </p:nvGrpSpPr>
          <p:grpSpPr>
            <a:xfrm>
              <a:off x="7254587" y="2789568"/>
              <a:ext cx="1090344" cy="1010387"/>
              <a:chOff x="7255368" y="2789568"/>
              <a:chExt cx="1090344" cy="1010387"/>
            </a:xfrm>
          </p:grpSpPr>
          <p:sp>
            <p:nvSpPr>
              <p:cNvPr id="57" name="Freeform 11"/>
              <p:cNvSpPr/>
              <p:nvPr/>
            </p:nvSpPr>
            <p:spPr bwMode="auto">
              <a:xfrm>
                <a:off x="7255368" y="3547358"/>
                <a:ext cx="556074" cy="67239"/>
              </a:xfrm>
              <a:custGeom>
                <a:avLst/>
                <a:gdLst>
                  <a:gd name="T0" fmla="*/ 75 w 75"/>
                  <a:gd name="T1" fmla="*/ 9 h 9"/>
                  <a:gd name="T2" fmla="*/ 75 w 75"/>
                  <a:gd name="T3" fmla="*/ 1 h 9"/>
                  <a:gd name="T4" fmla="*/ 7 w 75"/>
                  <a:gd name="T5" fmla="*/ 1 h 9"/>
                  <a:gd name="T6" fmla="*/ 0 w 75"/>
                  <a:gd name="T7" fmla="*/ 0 h 9"/>
                  <a:gd name="T8" fmla="*/ 0 w 75"/>
                  <a:gd name="T9" fmla="*/ 7 h 9"/>
                  <a:gd name="T10" fmla="*/ 7 w 75"/>
                  <a:gd name="T11" fmla="*/ 9 h 9"/>
                  <a:gd name="T12" fmla="*/ 75 w 75"/>
                  <a:gd name="T1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5" h="9">
                    <a:moveTo>
                      <a:pt x="75" y="9"/>
                    </a:moveTo>
                    <a:cubicBezTo>
                      <a:pt x="75" y="1"/>
                      <a:pt x="75" y="1"/>
                      <a:pt x="75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4" y="1"/>
                      <a:pt x="2" y="1"/>
                      <a:pt x="0" y="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8"/>
                      <a:pt x="4" y="9"/>
                      <a:pt x="7" y="9"/>
                    </a:cubicBezTo>
                    <a:lnTo>
                      <a:pt x="75" y="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Freeform 12"/>
              <p:cNvSpPr>
                <a:spLocks noEditPoints="1"/>
              </p:cNvSpPr>
              <p:nvPr/>
            </p:nvSpPr>
            <p:spPr bwMode="auto">
              <a:xfrm>
                <a:off x="7582471" y="3027628"/>
                <a:ext cx="318017" cy="356178"/>
              </a:xfrm>
              <a:custGeom>
                <a:avLst/>
                <a:gdLst>
                  <a:gd name="T0" fmla="*/ 43 w 43"/>
                  <a:gd name="T1" fmla="*/ 23 h 48"/>
                  <a:gd name="T2" fmla="*/ 43 w 43"/>
                  <a:gd name="T3" fmla="*/ 22 h 48"/>
                  <a:gd name="T4" fmla="*/ 43 w 43"/>
                  <a:gd name="T5" fmla="*/ 22 h 48"/>
                  <a:gd name="T6" fmla="*/ 42 w 43"/>
                  <a:gd name="T7" fmla="*/ 22 h 48"/>
                  <a:gd name="T8" fmla="*/ 42 w 43"/>
                  <a:gd name="T9" fmla="*/ 21 h 48"/>
                  <a:gd name="T10" fmla="*/ 42 w 43"/>
                  <a:gd name="T11" fmla="*/ 21 h 48"/>
                  <a:gd name="T12" fmla="*/ 5 w 43"/>
                  <a:gd name="T13" fmla="*/ 0 h 48"/>
                  <a:gd name="T14" fmla="*/ 5 w 43"/>
                  <a:gd name="T15" fmla="*/ 0 h 48"/>
                  <a:gd name="T16" fmla="*/ 4 w 43"/>
                  <a:gd name="T17" fmla="*/ 0 h 48"/>
                  <a:gd name="T18" fmla="*/ 3 w 43"/>
                  <a:gd name="T19" fmla="*/ 0 h 48"/>
                  <a:gd name="T20" fmla="*/ 3 w 43"/>
                  <a:gd name="T21" fmla="*/ 0 h 48"/>
                  <a:gd name="T22" fmla="*/ 3 w 43"/>
                  <a:gd name="T23" fmla="*/ 0 h 48"/>
                  <a:gd name="T24" fmla="*/ 2 w 43"/>
                  <a:gd name="T25" fmla="*/ 0 h 48"/>
                  <a:gd name="T26" fmla="*/ 1 w 43"/>
                  <a:gd name="T27" fmla="*/ 0 h 48"/>
                  <a:gd name="T28" fmla="*/ 1 w 43"/>
                  <a:gd name="T29" fmla="*/ 1 h 48"/>
                  <a:gd name="T30" fmla="*/ 0 w 43"/>
                  <a:gd name="T31" fmla="*/ 1 h 48"/>
                  <a:gd name="T32" fmla="*/ 0 w 43"/>
                  <a:gd name="T33" fmla="*/ 2 h 48"/>
                  <a:gd name="T34" fmla="*/ 0 w 43"/>
                  <a:gd name="T35" fmla="*/ 2 h 48"/>
                  <a:gd name="T36" fmla="*/ 0 w 43"/>
                  <a:gd name="T37" fmla="*/ 2 h 48"/>
                  <a:gd name="T38" fmla="*/ 0 w 43"/>
                  <a:gd name="T39" fmla="*/ 3 h 48"/>
                  <a:gd name="T40" fmla="*/ 0 w 43"/>
                  <a:gd name="T41" fmla="*/ 3 h 48"/>
                  <a:gd name="T42" fmla="*/ 0 w 43"/>
                  <a:gd name="T43" fmla="*/ 45 h 48"/>
                  <a:gd name="T44" fmla="*/ 0 w 43"/>
                  <a:gd name="T45" fmla="*/ 45 h 48"/>
                  <a:gd name="T46" fmla="*/ 0 w 43"/>
                  <a:gd name="T47" fmla="*/ 46 h 48"/>
                  <a:gd name="T48" fmla="*/ 0 w 43"/>
                  <a:gd name="T49" fmla="*/ 46 h 48"/>
                  <a:gd name="T50" fmla="*/ 0 w 43"/>
                  <a:gd name="T51" fmla="*/ 47 h 48"/>
                  <a:gd name="T52" fmla="*/ 2 w 43"/>
                  <a:gd name="T53" fmla="*/ 48 h 48"/>
                  <a:gd name="T54" fmla="*/ 2 w 43"/>
                  <a:gd name="T55" fmla="*/ 48 h 48"/>
                  <a:gd name="T56" fmla="*/ 3 w 43"/>
                  <a:gd name="T57" fmla="*/ 48 h 48"/>
                  <a:gd name="T58" fmla="*/ 3 w 43"/>
                  <a:gd name="T59" fmla="*/ 48 h 48"/>
                  <a:gd name="T60" fmla="*/ 3 w 43"/>
                  <a:gd name="T61" fmla="*/ 48 h 48"/>
                  <a:gd name="T62" fmla="*/ 3 w 43"/>
                  <a:gd name="T63" fmla="*/ 48 h 48"/>
                  <a:gd name="T64" fmla="*/ 4 w 43"/>
                  <a:gd name="T65" fmla="*/ 48 h 48"/>
                  <a:gd name="T66" fmla="*/ 5 w 43"/>
                  <a:gd name="T67" fmla="*/ 48 h 48"/>
                  <a:gd name="T68" fmla="*/ 5 w 43"/>
                  <a:gd name="T69" fmla="*/ 48 h 48"/>
                  <a:gd name="T70" fmla="*/ 42 w 43"/>
                  <a:gd name="T71" fmla="*/ 27 h 48"/>
                  <a:gd name="T72" fmla="*/ 42 w 43"/>
                  <a:gd name="T73" fmla="*/ 27 h 48"/>
                  <a:gd name="T74" fmla="*/ 43 w 43"/>
                  <a:gd name="T75" fmla="*/ 26 h 48"/>
                  <a:gd name="T76" fmla="*/ 43 w 43"/>
                  <a:gd name="T77" fmla="*/ 26 h 48"/>
                  <a:gd name="T78" fmla="*/ 43 w 43"/>
                  <a:gd name="T79" fmla="*/ 26 h 48"/>
                  <a:gd name="T80" fmla="*/ 43 w 43"/>
                  <a:gd name="T81" fmla="*/ 25 h 48"/>
                  <a:gd name="T82" fmla="*/ 43 w 43"/>
                  <a:gd name="T83" fmla="*/ 25 h 48"/>
                  <a:gd name="T84" fmla="*/ 43 w 43"/>
                  <a:gd name="T85" fmla="*/ 24 h 48"/>
                  <a:gd name="T86" fmla="*/ 43 w 43"/>
                  <a:gd name="T87" fmla="*/ 23 h 48"/>
                  <a:gd name="T88" fmla="*/ 43 w 43"/>
                  <a:gd name="T89" fmla="*/ 23 h 48"/>
                  <a:gd name="T90" fmla="*/ 7 w 43"/>
                  <a:gd name="T91" fmla="*/ 39 h 48"/>
                  <a:gd name="T92" fmla="*/ 7 w 43"/>
                  <a:gd name="T93" fmla="*/ 9 h 48"/>
                  <a:gd name="T94" fmla="*/ 33 w 43"/>
                  <a:gd name="T95" fmla="*/ 24 h 48"/>
                  <a:gd name="T96" fmla="*/ 7 w 43"/>
                  <a:gd name="T97" fmla="*/ 39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3" h="48">
                    <a:moveTo>
                      <a:pt x="43" y="23"/>
                    </a:moveTo>
                    <a:cubicBezTo>
                      <a:pt x="43" y="23"/>
                      <a:pt x="43" y="22"/>
                      <a:pt x="43" y="22"/>
                    </a:cubicBezTo>
                    <a:cubicBezTo>
                      <a:pt x="43" y="22"/>
                      <a:pt x="43" y="22"/>
                      <a:pt x="43" y="22"/>
                    </a:cubicBezTo>
                    <a:cubicBezTo>
                      <a:pt x="43" y="22"/>
                      <a:pt x="43" y="22"/>
                      <a:pt x="42" y="22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6"/>
                      <a:pt x="0" y="46"/>
                      <a:pt x="0" y="47"/>
                    </a:cubicBezTo>
                    <a:cubicBezTo>
                      <a:pt x="1" y="47"/>
                      <a:pt x="1" y="48"/>
                      <a:pt x="2" y="48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2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2" y="27"/>
                      <a:pt x="43" y="26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6"/>
                      <a:pt x="43" y="26"/>
                      <a:pt x="43" y="25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3" y="24"/>
                      <a:pt x="43" y="24"/>
                      <a:pt x="43" y="23"/>
                    </a:cubicBezTo>
                    <a:cubicBezTo>
                      <a:pt x="43" y="23"/>
                      <a:pt x="43" y="23"/>
                      <a:pt x="43" y="23"/>
                    </a:cubicBezTo>
                    <a:close/>
                    <a:moveTo>
                      <a:pt x="7" y="39"/>
                    </a:moveTo>
                    <a:cubicBezTo>
                      <a:pt x="7" y="9"/>
                      <a:pt x="7" y="9"/>
                      <a:pt x="7" y="9"/>
                    </a:cubicBezTo>
                    <a:cubicBezTo>
                      <a:pt x="33" y="24"/>
                      <a:pt x="33" y="24"/>
                      <a:pt x="33" y="24"/>
                    </a:cubicBezTo>
                    <a:lnTo>
                      <a:pt x="7" y="3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 13"/>
              <p:cNvSpPr/>
              <p:nvPr/>
            </p:nvSpPr>
            <p:spPr bwMode="auto">
              <a:xfrm>
                <a:off x="7277177" y="3739985"/>
                <a:ext cx="928609" cy="59970"/>
              </a:xfrm>
              <a:custGeom>
                <a:avLst/>
                <a:gdLst>
                  <a:gd name="T0" fmla="*/ 121 w 125"/>
                  <a:gd name="T1" fmla="*/ 0 h 8"/>
                  <a:gd name="T2" fmla="*/ 4 w 125"/>
                  <a:gd name="T3" fmla="*/ 0 h 8"/>
                  <a:gd name="T4" fmla="*/ 0 w 125"/>
                  <a:gd name="T5" fmla="*/ 4 h 8"/>
                  <a:gd name="T6" fmla="*/ 4 w 125"/>
                  <a:gd name="T7" fmla="*/ 8 h 8"/>
                  <a:gd name="T8" fmla="*/ 121 w 125"/>
                  <a:gd name="T9" fmla="*/ 8 h 8"/>
                  <a:gd name="T10" fmla="*/ 125 w 125"/>
                  <a:gd name="T11" fmla="*/ 4 h 8"/>
                  <a:gd name="T12" fmla="*/ 121 w 125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5" h="8">
                    <a:moveTo>
                      <a:pt x="121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1" y="8"/>
                      <a:pt x="121" y="8"/>
                      <a:pt x="121" y="8"/>
                    </a:cubicBezTo>
                    <a:cubicBezTo>
                      <a:pt x="123" y="8"/>
                      <a:pt x="125" y="6"/>
                      <a:pt x="125" y="4"/>
                    </a:cubicBezTo>
                    <a:cubicBezTo>
                      <a:pt x="125" y="2"/>
                      <a:pt x="123" y="0"/>
                      <a:pt x="12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Freeform 14"/>
              <p:cNvSpPr/>
              <p:nvPr/>
            </p:nvSpPr>
            <p:spPr bwMode="auto">
              <a:xfrm>
                <a:off x="7864145" y="3501926"/>
                <a:ext cx="154466" cy="163552"/>
              </a:xfrm>
              <a:custGeom>
                <a:avLst/>
                <a:gdLst>
                  <a:gd name="T0" fmla="*/ 28 w 85"/>
                  <a:gd name="T1" fmla="*/ 0 h 90"/>
                  <a:gd name="T2" fmla="*/ 28 w 85"/>
                  <a:gd name="T3" fmla="*/ 29 h 90"/>
                  <a:gd name="T4" fmla="*/ 0 w 85"/>
                  <a:gd name="T5" fmla="*/ 29 h 90"/>
                  <a:gd name="T6" fmla="*/ 0 w 85"/>
                  <a:gd name="T7" fmla="*/ 29 h 90"/>
                  <a:gd name="T8" fmla="*/ 0 w 85"/>
                  <a:gd name="T9" fmla="*/ 58 h 90"/>
                  <a:gd name="T10" fmla="*/ 0 w 85"/>
                  <a:gd name="T11" fmla="*/ 62 h 90"/>
                  <a:gd name="T12" fmla="*/ 28 w 85"/>
                  <a:gd name="T13" fmla="*/ 62 h 90"/>
                  <a:gd name="T14" fmla="*/ 28 w 85"/>
                  <a:gd name="T15" fmla="*/ 90 h 90"/>
                  <a:gd name="T16" fmla="*/ 57 w 85"/>
                  <a:gd name="T17" fmla="*/ 90 h 90"/>
                  <a:gd name="T18" fmla="*/ 57 w 85"/>
                  <a:gd name="T19" fmla="*/ 62 h 90"/>
                  <a:gd name="T20" fmla="*/ 85 w 85"/>
                  <a:gd name="T21" fmla="*/ 62 h 90"/>
                  <a:gd name="T22" fmla="*/ 85 w 85"/>
                  <a:gd name="T23" fmla="*/ 58 h 90"/>
                  <a:gd name="T24" fmla="*/ 85 w 85"/>
                  <a:gd name="T25" fmla="*/ 29 h 90"/>
                  <a:gd name="T26" fmla="*/ 85 w 85"/>
                  <a:gd name="T27" fmla="*/ 29 h 90"/>
                  <a:gd name="T28" fmla="*/ 57 w 85"/>
                  <a:gd name="T29" fmla="*/ 29 h 90"/>
                  <a:gd name="T30" fmla="*/ 57 w 85"/>
                  <a:gd name="T31" fmla="*/ 0 h 90"/>
                  <a:gd name="T32" fmla="*/ 28 w 85"/>
                  <a:gd name="T33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5" h="90">
                    <a:moveTo>
                      <a:pt x="28" y="0"/>
                    </a:moveTo>
                    <a:lnTo>
                      <a:pt x="28" y="29"/>
                    </a:lnTo>
                    <a:lnTo>
                      <a:pt x="0" y="29"/>
                    </a:lnTo>
                    <a:lnTo>
                      <a:pt x="0" y="29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28" y="62"/>
                    </a:lnTo>
                    <a:lnTo>
                      <a:pt x="28" y="90"/>
                    </a:lnTo>
                    <a:lnTo>
                      <a:pt x="57" y="90"/>
                    </a:lnTo>
                    <a:lnTo>
                      <a:pt x="57" y="62"/>
                    </a:lnTo>
                    <a:lnTo>
                      <a:pt x="85" y="62"/>
                    </a:lnTo>
                    <a:lnTo>
                      <a:pt x="85" y="58"/>
                    </a:lnTo>
                    <a:lnTo>
                      <a:pt x="85" y="29"/>
                    </a:lnTo>
                    <a:lnTo>
                      <a:pt x="85" y="29"/>
                    </a:lnTo>
                    <a:lnTo>
                      <a:pt x="57" y="29"/>
                    </a:lnTo>
                    <a:lnTo>
                      <a:pt x="57" y="0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Freeform 15"/>
              <p:cNvSpPr/>
              <p:nvPr/>
            </p:nvSpPr>
            <p:spPr bwMode="auto">
              <a:xfrm>
                <a:off x="7255368" y="2789568"/>
                <a:ext cx="1090344" cy="825027"/>
              </a:xfrm>
              <a:custGeom>
                <a:avLst/>
                <a:gdLst>
                  <a:gd name="T0" fmla="*/ 125 w 147"/>
                  <a:gd name="T1" fmla="*/ 0 h 111"/>
                  <a:gd name="T2" fmla="*/ 125 w 147"/>
                  <a:gd name="T3" fmla="*/ 0 h 111"/>
                  <a:gd name="T4" fmla="*/ 7 w 147"/>
                  <a:gd name="T5" fmla="*/ 0 h 111"/>
                  <a:gd name="T6" fmla="*/ 0 w 147"/>
                  <a:gd name="T7" fmla="*/ 1 h 111"/>
                  <a:gd name="T8" fmla="*/ 0 w 147"/>
                  <a:gd name="T9" fmla="*/ 9 h 111"/>
                  <a:gd name="T10" fmla="*/ 7 w 147"/>
                  <a:gd name="T11" fmla="*/ 7 h 111"/>
                  <a:gd name="T12" fmla="*/ 124 w 147"/>
                  <a:gd name="T13" fmla="*/ 7 h 111"/>
                  <a:gd name="T14" fmla="*/ 140 w 147"/>
                  <a:gd name="T15" fmla="*/ 23 h 111"/>
                  <a:gd name="T16" fmla="*/ 140 w 147"/>
                  <a:gd name="T17" fmla="*/ 88 h 111"/>
                  <a:gd name="T18" fmla="*/ 124 w 147"/>
                  <a:gd name="T19" fmla="*/ 103 h 111"/>
                  <a:gd name="T20" fmla="*/ 111 w 147"/>
                  <a:gd name="T21" fmla="*/ 103 h 111"/>
                  <a:gd name="T22" fmla="*/ 111 w 147"/>
                  <a:gd name="T23" fmla="*/ 111 h 111"/>
                  <a:gd name="T24" fmla="*/ 125 w 147"/>
                  <a:gd name="T25" fmla="*/ 111 h 111"/>
                  <a:gd name="T26" fmla="*/ 125 w 147"/>
                  <a:gd name="T27" fmla="*/ 110 h 111"/>
                  <a:gd name="T28" fmla="*/ 147 w 147"/>
                  <a:gd name="T29" fmla="*/ 88 h 111"/>
                  <a:gd name="T30" fmla="*/ 147 w 147"/>
                  <a:gd name="T31" fmla="*/ 23 h 111"/>
                  <a:gd name="T32" fmla="*/ 125 w 147"/>
                  <a:gd name="T3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7" h="111">
                    <a:moveTo>
                      <a:pt x="125" y="0"/>
                    </a:moveTo>
                    <a:cubicBezTo>
                      <a:pt x="125" y="0"/>
                      <a:pt x="125" y="0"/>
                      <a:pt x="125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4" y="0"/>
                      <a:pt x="2" y="1"/>
                      <a:pt x="0" y="1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" y="8"/>
                      <a:pt x="4" y="7"/>
                      <a:pt x="7" y="7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33" y="7"/>
                      <a:pt x="140" y="14"/>
                      <a:pt x="140" y="23"/>
                    </a:cubicBezTo>
                    <a:cubicBezTo>
                      <a:pt x="140" y="88"/>
                      <a:pt x="140" y="88"/>
                      <a:pt x="140" y="88"/>
                    </a:cubicBezTo>
                    <a:cubicBezTo>
                      <a:pt x="140" y="96"/>
                      <a:pt x="133" y="103"/>
                      <a:pt x="124" y="103"/>
                    </a:cubicBezTo>
                    <a:cubicBezTo>
                      <a:pt x="111" y="103"/>
                      <a:pt x="111" y="103"/>
                      <a:pt x="111" y="103"/>
                    </a:cubicBezTo>
                    <a:cubicBezTo>
                      <a:pt x="111" y="111"/>
                      <a:pt x="111" y="111"/>
                      <a:pt x="111" y="111"/>
                    </a:cubicBezTo>
                    <a:cubicBezTo>
                      <a:pt x="125" y="111"/>
                      <a:pt x="125" y="111"/>
                      <a:pt x="125" y="111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37" y="110"/>
                      <a:pt x="147" y="100"/>
                      <a:pt x="147" y="88"/>
                    </a:cubicBezTo>
                    <a:cubicBezTo>
                      <a:pt x="147" y="23"/>
                      <a:pt x="147" y="23"/>
                      <a:pt x="147" y="23"/>
                    </a:cubicBezTo>
                    <a:cubicBezTo>
                      <a:pt x="147" y="11"/>
                      <a:pt x="137" y="1"/>
                      <a:pt x="12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2" name="组合 61"/>
          <p:cNvGrpSpPr/>
          <p:nvPr userDrawn="1"/>
        </p:nvGrpSpPr>
        <p:grpSpPr>
          <a:xfrm>
            <a:off x="756325" y="2112864"/>
            <a:ext cx="1762686" cy="1762683"/>
            <a:chOff x="1507108" y="2100648"/>
            <a:chExt cx="1627763" cy="1627761"/>
          </a:xfrm>
        </p:grpSpPr>
        <p:sp>
          <p:nvSpPr>
            <p:cNvPr id="63" name="矩形 62"/>
            <p:cNvSpPr/>
            <p:nvPr/>
          </p:nvSpPr>
          <p:spPr>
            <a:xfrm>
              <a:off x="1507110" y="2100648"/>
              <a:ext cx="1627761" cy="1627761"/>
            </a:xfrm>
            <a:prstGeom prst="rect">
              <a:avLst/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grpSp>
          <p:nvGrpSpPr>
            <p:cNvPr id="64" name="组合 63"/>
            <p:cNvGrpSpPr/>
            <p:nvPr/>
          </p:nvGrpSpPr>
          <p:grpSpPr>
            <a:xfrm>
              <a:off x="1507108" y="2201164"/>
              <a:ext cx="1384865" cy="1466956"/>
              <a:chOff x="1550988" y="1668463"/>
              <a:chExt cx="615950" cy="652462"/>
            </a:xfrm>
          </p:grpSpPr>
          <p:sp>
            <p:nvSpPr>
              <p:cNvPr id="65" name="Freeform 5"/>
              <p:cNvSpPr/>
              <p:nvPr/>
            </p:nvSpPr>
            <p:spPr bwMode="auto">
              <a:xfrm>
                <a:off x="1550988" y="1962150"/>
                <a:ext cx="585788" cy="358775"/>
              </a:xfrm>
              <a:custGeom>
                <a:avLst/>
                <a:gdLst>
                  <a:gd name="T0" fmla="*/ 62 w 153"/>
                  <a:gd name="T1" fmla="*/ 94 h 94"/>
                  <a:gd name="T2" fmla="*/ 69 w 153"/>
                  <a:gd name="T3" fmla="*/ 91 h 94"/>
                  <a:gd name="T4" fmla="*/ 139 w 153"/>
                  <a:gd name="T5" fmla="*/ 22 h 94"/>
                  <a:gd name="T6" fmla="*/ 153 w 153"/>
                  <a:gd name="T7" fmla="*/ 0 h 94"/>
                  <a:gd name="T8" fmla="*/ 145 w 153"/>
                  <a:gd name="T9" fmla="*/ 0 h 94"/>
                  <a:gd name="T10" fmla="*/ 134 w 153"/>
                  <a:gd name="T11" fmla="*/ 16 h 94"/>
                  <a:gd name="T12" fmla="*/ 64 w 153"/>
                  <a:gd name="T13" fmla="*/ 86 h 94"/>
                  <a:gd name="T14" fmla="*/ 62 w 153"/>
                  <a:gd name="T15" fmla="*/ 87 h 94"/>
                  <a:gd name="T16" fmla="*/ 59 w 153"/>
                  <a:gd name="T17" fmla="*/ 86 h 94"/>
                  <a:gd name="T18" fmla="*/ 0 w 153"/>
                  <a:gd name="T19" fmla="*/ 27 h 94"/>
                  <a:gd name="T20" fmla="*/ 0 w 153"/>
                  <a:gd name="T21" fmla="*/ 36 h 94"/>
                  <a:gd name="T22" fmla="*/ 54 w 153"/>
                  <a:gd name="T23" fmla="*/ 91 h 94"/>
                  <a:gd name="T24" fmla="*/ 62 w 153"/>
                  <a:gd name="T25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3" h="94">
                    <a:moveTo>
                      <a:pt x="62" y="94"/>
                    </a:moveTo>
                    <a:cubicBezTo>
                      <a:pt x="64" y="94"/>
                      <a:pt x="67" y="93"/>
                      <a:pt x="69" y="91"/>
                    </a:cubicBezTo>
                    <a:cubicBezTo>
                      <a:pt x="139" y="22"/>
                      <a:pt x="139" y="22"/>
                      <a:pt x="139" y="22"/>
                    </a:cubicBezTo>
                    <a:cubicBezTo>
                      <a:pt x="145" y="15"/>
                      <a:pt x="150" y="8"/>
                      <a:pt x="153" y="0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42" y="6"/>
                      <a:pt x="139" y="12"/>
                      <a:pt x="134" y="16"/>
                    </a:cubicBezTo>
                    <a:cubicBezTo>
                      <a:pt x="64" y="86"/>
                      <a:pt x="64" y="86"/>
                      <a:pt x="64" y="86"/>
                    </a:cubicBezTo>
                    <a:cubicBezTo>
                      <a:pt x="63" y="87"/>
                      <a:pt x="62" y="87"/>
                      <a:pt x="62" y="87"/>
                    </a:cubicBezTo>
                    <a:cubicBezTo>
                      <a:pt x="61" y="87"/>
                      <a:pt x="60" y="87"/>
                      <a:pt x="59" y="8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54" y="91"/>
                      <a:pt x="54" y="91"/>
                      <a:pt x="54" y="91"/>
                    </a:cubicBezTo>
                    <a:cubicBezTo>
                      <a:pt x="56" y="93"/>
                      <a:pt x="59" y="94"/>
                      <a:pt x="62" y="9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6"/>
              <p:cNvSpPr/>
              <p:nvPr/>
            </p:nvSpPr>
            <p:spPr bwMode="auto">
              <a:xfrm>
                <a:off x="1550988" y="1668463"/>
                <a:ext cx="588963" cy="160337"/>
              </a:xfrm>
              <a:custGeom>
                <a:avLst/>
                <a:gdLst>
                  <a:gd name="T0" fmla="*/ 139 w 154"/>
                  <a:gd name="T1" fmla="*/ 18 h 42"/>
                  <a:gd name="T2" fmla="*/ 114 w 154"/>
                  <a:gd name="T3" fmla="*/ 3 h 42"/>
                  <a:gd name="T4" fmla="*/ 83 w 154"/>
                  <a:gd name="T5" fmla="*/ 3 h 42"/>
                  <a:gd name="T6" fmla="*/ 62 w 154"/>
                  <a:gd name="T7" fmla="*/ 13 h 42"/>
                  <a:gd name="T8" fmla="*/ 40 w 154"/>
                  <a:gd name="T9" fmla="*/ 3 h 42"/>
                  <a:gd name="T10" fmla="*/ 9 w 154"/>
                  <a:gd name="T11" fmla="*/ 3 h 42"/>
                  <a:gd name="T12" fmla="*/ 0 w 154"/>
                  <a:gd name="T13" fmla="*/ 7 h 42"/>
                  <a:gd name="T14" fmla="*/ 0 w 154"/>
                  <a:gd name="T15" fmla="*/ 15 h 42"/>
                  <a:gd name="T16" fmla="*/ 11 w 154"/>
                  <a:gd name="T17" fmla="*/ 10 h 42"/>
                  <a:gd name="T18" fmla="*/ 26 w 154"/>
                  <a:gd name="T19" fmla="*/ 8 h 42"/>
                  <a:gd name="T20" fmla="*/ 38 w 154"/>
                  <a:gd name="T21" fmla="*/ 9 h 42"/>
                  <a:gd name="T22" fmla="*/ 59 w 154"/>
                  <a:gd name="T23" fmla="*/ 21 h 42"/>
                  <a:gd name="T24" fmla="*/ 62 w 154"/>
                  <a:gd name="T25" fmla="*/ 22 h 42"/>
                  <a:gd name="T26" fmla="*/ 64 w 154"/>
                  <a:gd name="T27" fmla="*/ 21 h 42"/>
                  <a:gd name="T28" fmla="*/ 85 w 154"/>
                  <a:gd name="T29" fmla="*/ 9 h 42"/>
                  <a:gd name="T30" fmla="*/ 112 w 154"/>
                  <a:gd name="T31" fmla="*/ 10 h 42"/>
                  <a:gd name="T32" fmla="*/ 134 w 154"/>
                  <a:gd name="T33" fmla="*/ 23 h 42"/>
                  <a:gd name="T34" fmla="*/ 146 w 154"/>
                  <a:gd name="T35" fmla="*/ 42 h 42"/>
                  <a:gd name="T36" fmla="*/ 154 w 154"/>
                  <a:gd name="T37" fmla="*/ 42 h 42"/>
                  <a:gd name="T38" fmla="*/ 153 w 154"/>
                  <a:gd name="T39" fmla="*/ 42 h 42"/>
                  <a:gd name="T40" fmla="*/ 139 w 154"/>
                  <a:gd name="T41" fmla="*/ 18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4" h="42">
                    <a:moveTo>
                      <a:pt x="139" y="18"/>
                    </a:moveTo>
                    <a:cubicBezTo>
                      <a:pt x="132" y="11"/>
                      <a:pt x="123" y="6"/>
                      <a:pt x="114" y="3"/>
                    </a:cubicBezTo>
                    <a:cubicBezTo>
                      <a:pt x="104" y="0"/>
                      <a:pt x="94" y="0"/>
                      <a:pt x="83" y="3"/>
                    </a:cubicBezTo>
                    <a:cubicBezTo>
                      <a:pt x="76" y="5"/>
                      <a:pt x="68" y="8"/>
                      <a:pt x="62" y="13"/>
                    </a:cubicBezTo>
                    <a:cubicBezTo>
                      <a:pt x="55" y="8"/>
                      <a:pt x="48" y="5"/>
                      <a:pt x="40" y="3"/>
                    </a:cubicBezTo>
                    <a:cubicBezTo>
                      <a:pt x="29" y="0"/>
                      <a:pt x="19" y="0"/>
                      <a:pt x="9" y="3"/>
                    </a:cubicBezTo>
                    <a:cubicBezTo>
                      <a:pt x="6" y="4"/>
                      <a:pt x="3" y="6"/>
                      <a:pt x="0" y="7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3"/>
                      <a:pt x="7" y="11"/>
                      <a:pt x="11" y="10"/>
                    </a:cubicBezTo>
                    <a:cubicBezTo>
                      <a:pt x="16" y="9"/>
                      <a:pt x="21" y="8"/>
                      <a:pt x="26" y="8"/>
                    </a:cubicBezTo>
                    <a:cubicBezTo>
                      <a:pt x="30" y="8"/>
                      <a:pt x="34" y="8"/>
                      <a:pt x="38" y="9"/>
                    </a:cubicBezTo>
                    <a:cubicBezTo>
                      <a:pt x="46" y="11"/>
                      <a:pt x="53" y="15"/>
                      <a:pt x="59" y="21"/>
                    </a:cubicBezTo>
                    <a:cubicBezTo>
                      <a:pt x="62" y="22"/>
                      <a:pt x="62" y="22"/>
                      <a:pt x="62" y="22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70" y="15"/>
                      <a:pt x="78" y="11"/>
                      <a:pt x="85" y="9"/>
                    </a:cubicBezTo>
                    <a:cubicBezTo>
                      <a:pt x="94" y="7"/>
                      <a:pt x="103" y="7"/>
                      <a:pt x="112" y="10"/>
                    </a:cubicBezTo>
                    <a:cubicBezTo>
                      <a:pt x="120" y="13"/>
                      <a:pt x="128" y="17"/>
                      <a:pt x="134" y="23"/>
                    </a:cubicBezTo>
                    <a:cubicBezTo>
                      <a:pt x="139" y="28"/>
                      <a:pt x="143" y="35"/>
                      <a:pt x="146" y="42"/>
                    </a:cubicBezTo>
                    <a:cubicBezTo>
                      <a:pt x="154" y="42"/>
                      <a:pt x="154" y="42"/>
                      <a:pt x="154" y="42"/>
                    </a:cubicBezTo>
                    <a:cubicBezTo>
                      <a:pt x="153" y="42"/>
                      <a:pt x="153" y="42"/>
                      <a:pt x="153" y="42"/>
                    </a:cubicBezTo>
                    <a:cubicBezTo>
                      <a:pt x="150" y="33"/>
                      <a:pt x="145" y="25"/>
                      <a:pt x="139" y="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7"/>
              <p:cNvSpPr/>
              <p:nvPr/>
            </p:nvSpPr>
            <p:spPr bwMode="auto">
              <a:xfrm>
                <a:off x="2087563" y="1855788"/>
                <a:ext cx="79375" cy="79375"/>
              </a:xfrm>
              <a:custGeom>
                <a:avLst/>
                <a:gdLst>
                  <a:gd name="T0" fmla="*/ 50 w 50"/>
                  <a:gd name="T1" fmla="*/ 17 h 50"/>
                  <a:gd name="T2" fmla="*/ 33 w 50"/>
                  <a:gd name="T3" fmla="*/ 17 h 50"/>
                  <a:gd name="T4" fmla="*/ 33 w 50"/>
                  <a:gd name="T5" fmla="*/ 0 h 50"/>
                  <a:gd name="T6" fmla="*/ 16 w 50"/>
                  <a:gd name="T7" fmla="*/ 0 h 50"/>
                  <a:gd name="T8" fmla="*/ 16 w 50"/>
                  <a:gd name="T9" fmla="*/ 17 h 50"/>
                  <a:gd name="T10" fmla="*/ 0 w 50"/>
                  <a:gd name="T11" fmla="*/ 17 h 50"/>
                  <a:gd name="T12" fmla="*/ 0 w 50"/>
                  <a:gd name="T13" fmla="*/ 33 h 50"/>
                  <a:gd name="T14" fmla="*/ 16 w 50"/>
                  <a:gd name="T15" fmla="*/ 33 h 50"/>
                  <a:gd name="T16" fmla="*/ 16 w 50"/>
                  <a:gd name="T17" fmla="*/ 50 h 50"/>
                  <a:gd name="T18" fmla="*/ 33 w 50"/>
                  <a:gd name="T19" fmla="*/ 50 h 50"/>
                  <a:gd name="T20" fmla="*/ 33 w 50"/>
                  <a:gd name="T21" fmla="*/ 33 h 50"/>
                  <a:gd name="T22" fmla="*/ 50 w 50"/>
                  <a:gd name="T23" fmla="*/ 33 h 50"/>
                  <a:gd name="T24" fmla="*/ 50 w 50"/>
                  <a:gd name="T25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50">
                    <a:moveTo>
                      <a:pt x="50" y="17"/>
                    </a:moveTo>
                    <a:lnTo>
                      <a:pt x="33" y="17"/>
                    </a:lnTo>
                    <a:lnTo>
                      <a:pt x="33" y="0"/>
                    </a:lnTo>
                    <a:lnTo>
                      <a:pt x="16" y="0"/>
                    </a:lnTo>
                    <a:lnTo>
                      <a:pt x="16" y="17"/>
                    </a:lnTo>
                    <a:lnTo>
                      <a:pt x="0" y="17"/>
                    </a:lnTo>
                    <a:lnTo>
                      <a:pt x="0" y="33"/>
                    </a:lnTo>
                    <a:lnTo>
                      <a:pt x="16" y="33"/>
                    </a:lnTo>
                    <a:lnTo>
                      <a:pt x="16" y="50"/>
                    </a:lnTo>
                    <a:lnTo>
                      <a:pt x="33" y="50"/>
                    </a:lnTo>
                    <a:lnTo>
                      <a:pt x="33" y="33"/>
                    </a:lnTo>
                    <a:lnTo>
                      <a:pt x="50" y="33"/>
                    </a:lnTo>
                    <a:lnTo>
                      <a:pt x="50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8" name="组合 67"/>
          <p:cNvGrpSpPr/>
          <p:nvPr userDrawn="1"/>
        </p:nvGrpSpPr>
        <p:grpSpPr>
          <a:xfrm>
            <a:off x="3540794" y="2112864"/>
            <a:ext cx="1762686" cy="1762683"/>
            <a:chOff x="4146320" y="2100648"/>
            <a:chExt cx="1627764" cy="1627761"/>
          </a:xfrm>
        </p:grpSpPr>
        <p:sp>
          <p:nvSpPr>
            <p:cNvPr id="69" name="矩形 68"/>
            <p:cNvSpPr/>
            <p:nvPr/>
          </p:nvSpPr>
          <p:spPr>
            <a:xfrm>
              <a:off x="4146323" y="2100648"/>
              <a:ext cx="1627761" cy="1627761"/>
            </a:xfrm>
            <a:prstGeom prst="rect">
              <a:avLst/>
            </a:prstGeom>
            <a:solidFill>
              <a:srgbClr val="1737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pic>
          <p:nvPicPr>
            <p:cNvPr id="70" name="图片 6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46320" y="2201164"/>
              <a:ext cx="1472700" cy="1527245"/>
            </a:xfrm>
            <a:prstGeom prst="rect">
              <a:avLst/>
            </a:prstGeom>
          </p:spPr>
        </p:pic>
      </p:grpSp>
      <p:sp>
        <p:nvSpPr>
          <p:cNvPr id="75" name="文本占位符 11"/>
          <p:cNvSpPr>
            <a:spLocks noGrp="1"/>
          </p:cNvSpPr>
          <p:nvPr>
            <p:ph type="body" sz="quarter" idx="16" hasCustomPrompt="1"/>
          </p:nvPr>
        </p:nvSpPr>
        <p:spPr>
          <a:xfrm>
            <a:off x="888171" y="4116313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6" name="文本占位符 11"/>
          <p:cNvSpPr>
            <a:spLocks noGrp="1"/>
          </p:cNvSpPr>
          <p:nvPr>
            <p:ph type="body" sz="quarter" idx="17" hasCustomPrompt="1"/>
          </p:nvPr>
        </p:nvSpPr>
        <p:spPr>
          <a:xfrm>
            <a:off x="3677711" y="4116313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7" name="文本占位符 11"/>
          <p:cNvSpPr>
            <a:spLocks noGrp="1"/>
          </p:cNvSpPr>
          <p:nvPr>
            <p:ph type="body" sz="quarter" idx="18" hasCustomPrompt="1"/>
          </p:nvPr>
        </p:nvSpPr>
        <p:spPr>
          <a:xfrm>
            <a:off x="6453376" y="4116313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8" name="文本占位符 11"/>
          <p:cNvSpPr>
            <a:spLocks noGrp="1"/>
          </p:cNvSpPr>
          <p:nvPr>
            <p:ph type="body" sz="quarter" idx="19" hasCustomPrompt="1"/>
          </p:nvPr>
        </p:nvSpPr>
        <p:spPr>
          <a:xfrm>
            <a:off x="9242916" y="4126576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三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矩形 37"/>
          <p:cNvSpPr/>
          <p:nvPr userDrawn="1"/>
        </p:nvSpPr>
        <p:spPr>
          <a:xfrm>
            <a:off x="5833319" y="4488866"/>
            <a:ext cx="1590584" cy="1596283"/>
          </a:xfrm>
          <a:prstGeom prst="rect">
            <a:avLst/>
          </a:prstGeom>
          <a:solidFill>
            <a:srgbClr val="A1A1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39" name="矩形 38"/>
          <p:cNvSpPr/>
          <p:nvPr userDrawn="1"/>
        </p:nvSpPr>
        <p:spPr>
          <a:xfrm>
            <a:off x="7556186" y="2788373"/>
            <a:ext cx="1593434" cy="1593434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 dirty="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40" name="矩形 39"/>
          <p:cNvSpPr/>
          <p:nvPr userDrawn="1"/>
        </p:nvSpPr>
        <p:spPr>
          <a:xfrm>
            <a:off x="4107600" y="4488866"/>
            <a:ext cx="1593435" cy="1593434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41" name="矩形 40"/>
          <p:cNvSpPr/>
          <p:nvPr userDrawn="1"/>
        </p:nvSpPr>
        <p:spPr>
          <a:xfrm>
            <a:off x="4102487" y="2788373"/>
            <a:ext cx="1593435" cy="1596283"/>
          </a:xfrm>
          <a:prstGeom prst="rect">
            <a:avLst/>
          </a:prstGeom>
          <a:solidFill>
            <a:srgbClr val="A1A1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42" name="矩形 41"/>
          <p:cNvSpPr/>
          <p:nvPr userDrawn="1"/>
        </p:nvSpPr>
        <p:spPr>
          <a:xfrm>
            <a:off x="634711" y="2788373"/>
            <a:ext cx="1618240" cy="1593434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43" name="矩形 42"/>
          <p:cNvSpPr/>
          <p:nvPr userDrawn="1"/>
        </p:nvSpPr>
        <p:spPr>
          <a:xfrm>
            <a:off x="7556186" y="4491718"/>
            <a:ext cx="1593434" cy="1593434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71" name="矩形 70"/>
          <p:cNvSpPr/>
          <p:nvPr userDrawn="1"/>
        </p:nvSpPr>
        <p:spPr>
          <a:xfrm>
            <a:off x="2381002" y="2800168"/>
            <a:ext cx="1593434" cy="1593434"/>
          </a:xfrm>
          <a:prstGeom prst="rect">
            <a:avLst/>
          </a:prstGeom>
          <a:solidFill>
            <a:srgbClr val="629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72" name="矩形 71"/>
          <p:cNvSpPr/>
          <p:nvPr userDrawn="1"/>
        </p:nvSpPr>
        <p:spPr>
          <a:xfrm>
            <a:off x="634711" y="4485035"/>
            <a:ext cx="1604161" cy="1604161"/>
          </a:xfrm>
          <a:prstGeom prst="rect">
            <a:avLst/>
          </a:prstGeom>
          <a:solidFill>
            <a:srgbClr val="629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矩形 72"/>
          <p:cNvSpPr/>
          <p:nvPr userDrawn="1"/>
        </p:nvSpPr>
        <p:spPr>
          <a:xfrm>
            <a:off x="2371156" y="4478138"/>
            <a:ext cx="1604161" cy="1604161"/>
          </a:xfrm>
          <a:prstGeom prst="rect">
            <a:avLst/>
          </a:prstGeom>
          <a:solidFill>
            <a:srgbClr val="17375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矩形 73"/>
          <p:cNvSpPr/>
          <p:nvPr userDrawn="1"/>
        </p:nvSpPr>
        <p:spPr>
          <a:xfrm>
            <a:off x="5823973" y="2788373"/>
            <a:ext cx="1604161" cy="1604161"/>
          </a:xfrm>
          <a:prstGeom prst="rect">
            <a:avLst/>
          </a:prstGeom>
          <a:solidFill>
            <a:srgbClr val="629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矩形 89"/>
          <p:cNvSpPr/>
          <p:nvPr userDrawn="1"/>
        </p:nvSpPr>
        <p:spPr>
          <a:xfrm>
            <a:off x="9264836" y="2800168"/>
            <a:ext cx="1593434" cy="1593434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 dirty="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91" name="矩形 90"/>
          <p:cNvSpPr/>
          <p:nvPr userDrawn="1"/>
        </p:nvSpPr>
        <p:spPr>
          <a:xfrm>
            <a:off x="9264836" y="4503513"/>
            <a:ext cx="1593434" cy="1593434"/>
          </a:xfrm>
          <a:prstGeom prst="rect">
            <a:avLst/>
          </a:prstGeom>
          <a:solidFill>
            <a:srgbClr val="A1A1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9" name="文本占位符 11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8001" y="1116000"/>
            <a:ext cx="10210269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79" name="文本占位符 11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15744" y="2845716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0" name="文本占位符 11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2438294" y="2845716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1" name="文本占位符 1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160844" y="2845716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2" name="文本占位符 11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5883394" y="2845716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3" name="文本占位符 11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7605944" y="2845716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4" name="文本占位符 11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715744" y="4544373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5" name="文本占位符 11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2438294" y="4544373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6" name="文本占位符 11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160844" y="4544373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7" name="文本占位符 11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5883394" y="4544373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8" name="文本占位符 11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7605944" y="4544373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9" name="文本占位符 11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48000" y="1764000"/>
            <a:ext cx="10210270" cy="889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92" name="文本占位符 11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9328492" y="2856562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93" name="文本占位符 11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328492" y="4555219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分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9"/>
          <p:cNvSpPr>
            <a:spLocks noGrp="1"/>
          </p:cNvSpPr>
          <p:nvPr>
            <p:ph type="body" sz="quarter" idx="10" hasCustomPrompt="1"/>
          </p:nvPr>
        </p:nvSpPr>
        <p:spPr>
          <a:xfrm>
            <a:off x="2972329" y="2789784"/>
            <a:ext cx="8305271" cy="127843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600" b="1">
                <a:solidFill>
                  <a:srgbClr val="005BAC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分隔页：</a:t>
            </a:r>
            <a:endParaRPr lang="en-US" altLang="zh-CN" dirty="0"/>
          </a:p>
          <a:p>
            <a:r>
              <a:rPr lang="zh-CN" altLang="en-US" dirty="0"/>
              <a:t>微软雅黑 </a:t>
            </a:r>
            <a:r>
              <a:rPr lang="en-US" altLang="zh-CN" dirty="0"/>
              <a:t>Verdana 36pt </a:t>
            </a:r>
            <a:r>
              <a:rPr lang="zh-CN" altLang="en-US" dirty="0"/>
              <a:t>加粗</a:t>
            </a:r>
          </a:p>
        </p:txBody>
      </p:sp>
      <p:grpSp>
        <p:nvGrpSpPr>
          <p:cNvPr id="4" name="组合 3"/>
          <p:cNvGrpSpPr/>
          <p:nvPr userDrawn="1"/>
        </p:nvGrpSpPr>
        <p:grpSpPr>
          <a:xfrm flipH="1">
            <a:off x="795943" y="1830878"/>
            <a:ext cx="1571106" cy="3196245"/>
            <a:chOff x="795943" y="1234670"/>
            <a:chExt cx="1571106" cy="3196245"/>
          </a:xfrm>
        </p:grpSpPr>
        <p:sp>
          <p:nvSpPr>
            <p:cNvPr id="5" name="单圆角矩形 4"/>
            <p:cNvSpPr/>
            <p:nvPr userDrawn="1"/>
          </p:nvSpPr>
          <p:spPr>
            <a:xfrm flipH="1">
              <a:off x="795943" y="1234670"/>
              <a:ext cx="1571106" cy="1571106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单圆角矩形 5"/>
            <p:cNvSpPr/>
            <p:nvPr userDrawn="1"/>
          </p:nvSpPr>
          <p:spPr>
            <a:xfrm flipH="1" flipV="1">
              <a:off x="795943" y="2859809"/>
              <a:ext cx="1571106" cy="1571106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-左字右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2" name="矩形 11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9" name="文本占位符 11"/>
          <p:cNvSpPr>
            <a:spLocks noGrp="1"/>
          </p:cNvSpPr>
          <p:nvPr>
            <p:ph type="body" sz="quarter" idx="22" hasCustomPrompt="1"/>
          </p:nvPr>
        </p:nvSpPr>
        <p:spPr>
          <a:xfrm>
            <a:off x="4992913" y="1764000"/>
            <a:ext cx="5865357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22" name="图片占位符 18"/>
          <p:cNvSpPr>
            <a:spLocks noGrp="1" noChangeAspect="1"/>
          </p:cNvSpPr>
          <p:nvPr>
            <p:ph type="pic" sz="quarter" idx="27"/>
          </p:nvPr>
        </p:nvSpPr>
        <p:spPr>
          <a:xfrm>
            <a:off x="648000" y="1764000"/>
            <a:ext cx="3935455" cy="3934800"/>
          </a:xfrm>
          <a:custGeom>
            <a:avLst/>
            <a:gdLst>
              <a:gd name="connsiteX0" fmla="*/ 246590 w 3365500"/>
              <a:gd name="connsiteY0" fmla="*/ 0 h 3365500"/>
              <a:gd name="connsiteX1" fmla="*/ 3118910 w 3365500"/>
              <a:gd name="connsiteY1" fmla="*/ 0 h 3365500"/>
              <a:gd name="connsiteX2" fmla="*/ 3365500 w 3365500"/>
              <a:gd name="connsiteY2" fmla="*/ 246590 h 3365500"/>
              <a:gd name="connsiteX3" fmla="*/ 3365500 w 3365500"/>
              <a:gd name="connsiteY3" fmla="*/ 3365500 h 3365500"/>
              <a:gd name="connsiteX4" fmla="*/ 3365500 w 3365500"/>
              <a:gd name="connsiteY4" fmla="*/ 3365500 h 3365500"/>
              <a:gd name="connsiteX5" fmla="*/ 0 w 3365500"/>
              <a:gd name="connsiteY5" fmla="*/ 3365500 h 3365500"/>
              <a:gd name="connsiteX6" fmla="*/ 0 w 3365500"/>
              <a:gd name="connsiteY6" fmla="*/ 3365500 h 3365500"/>
              <a:gd name="connsiteX7" fmla="*/ 0 w 3365500"/>
              <a:gd name="connsiteY7" fmla="*/ 246590 h 3365500"/>
              <a:gd name="connsiteX8" fmla="*/ 246590 w 3365500"/>
              <a:gd name="connsiteY8" fmla="*/ 0 h 3365500"/>
              <a:gd name="connsiteX0-1" fmla="*/ 246590 w 3400346"/>
              <a:gd name="connsiteY0-2" fmla="*/ 0 h 3365500"/>
              <a:gd name="connsiteX1-3" fmla="*/ 3328460 w 3400346"/>
              <a:gd name="connsiteY1-4" fmla="*/ 0 h 3365500"/>
              <a:gd name="connsiteX2-5" fmla="*/ 3365500 w 3400346"/>
              <a:gd name="connsiteY2-6" fmla="*/ 246590 h 3365500"/>
              <a:gd name="connsiteX3-7" fmla="*/ 3365500 w 3400346"/>
              <a:gd name="connsiteY3-8" fmla="*/ 3365500 h 3365500"/>
              <a:gd name="connsiteX4-9" fmla="*/ 3365500 w 3400346"/>
              <a:gd name="connsiteY4-10" fmla="*/ 3365500 h 3365500"/>
              <a:gd name="connsiteX5-11" fmla="*/ 0 w 3400346"/>
              <a:gd name="connsiteY5-12" fmla="*/ 3365500 h 3365500"/>
              <a:gd name="connsiteX6-13" fmla="*/ 0 w 3400346"/>
              <a:gd name="connsiteY6-14" fmla="*/ 3365500 h 3365500"/>
              <a:gd name="connsiteX7-15" fmla="*/ 0 w 3400346"/>
              <a:gd name="connsiteY7-16" fmla="*/ 246590 h 3365500"/>
              <a:gd name="connsiteX8-17" fmla="*/ 246590 w 3400346"/>
              <a:gd name="connsiteY8-18" fmla="*/ 0 h 3365500"/>
              <a:gd name="connsiteX0-19" fmla="*/ 246590 w 3413081"/>
              <a:gd name="connsiteY0-20" fmla="*/ 0 h 3365500"/>
              <a:gd name="connsiteX1-21" fmla="*/ 3347510 w 3413081"/>
              <a:gd name="connsiteY1-22" fmla="*/ 0 h 3365500"/>
              <a:gd name="connsiteX2-23" fmla="*/ 3365500 w 3413081"/>
              <a:gd name="connsiteY2-24" fmla="*/ 246590 h 3365500"/>
              <a:gd name="connsiteX3-25" fmla="*/ 3365500 w 3413081"/>
              <a:gd name="connsiteY3-26" fmla="*/ 3365500 h 3365500"/>
              <a:gd name="connsiteX4-27" fmla="*/ 3365500 w 3413081"/>
              <a:gd name="connsiteY4-28" fmla="*/ 3365500 h 3365500"/>
              <a:gd name="connsiteX5-29" fmla="*/ 0 w 3413081"/>
              <a:gd name="connsiteY5-30" fmla="*/ 3365500 h 3365500"/>
              <a:gd name="connsiteX6-31" fmla="*/ 0 w 3413081"/>
              <a:gd name="connsiteY6-32" fmla="*/ 3365500 h 3365500"/>
              <a:gd name="connsiteX7-33" fmla="*/ 0 w 3413081"/>
              <a:gd name="connsiteY7-34" fmla="*/ 246590 h 3365500"/>
              <a:gd name="connsiteX8-35" fmla="*/ 246590 w 3413081"/>
              <a:gd name="connsiteY8-36" fmla="*/ 0 h 3365500"/>
              <a:gd name="connsiteX0-37" fmla="*/ 246590 w 3419838"/>
              <a:gd name="connsiteY0-38" fmla="*/ 0 h 3365500"/>
              <a:gd name="connsiteX1-39" fmla="*/ 3357035 w 3419838"/>
              <a:gd name="connsiteY1-40" fmla="*/ 0 h 3365500"/>
              <a:gd name="connsiteX2-41" fmla="*/ 3365500 w 3419838"/>
              <a:gd name="connsiteY2-42" fmla="*/ 246590 h 3365500"/>
              <a:gd name="connsiteX3-43" fmla="*/ 3365500 w 3419838"/>
              <a:gd name="connsiteY3-44" fmla="*/ 3365500 h 3365500"/>
              <a:gd name="connsiteX4-45" fmla="*/ 3365500 w 3419838"/>
              <a:gd name="connsiteY4-46" fmla="*/ 3365500 h 3365500"/>
              <a:gd name="connsiteX5-47" fmla="*/ 0 w 3419838"/>
              <a:gd name="connsiteY5-48" fmla="*/ 3365500 h 3365500"/>
              <a:gd name="connsiteX6-49" fmla="*/ 0 w 3419838"/>
              <a:gd name="connsiteY6-50" fmla="*/ 3365500 h 3365500"/>
              <a:gd name="connsiteX7-51" fmla="*/ 0 w 3419838"/>
              <a:gd name="connsiteY7-52" fmla="*/ 246590 h 3365500"/>
              <a:gd name="connsiteX8-53" fmla="*/ 246590 w 3419838"/>
              <a:gd name="connsiteY8-54" fmla="*/ 0 h 3365500"/>
              <a:gd name="connsiteX0-55" fmla="*/ 246590 w 3426814"/>
              <a:gd name="connsiteY0-56" fmla="*/ 0 h 3365500"/>
              <a:gd name="connsiteX1-57" fmla="*/ 3366560 w 3426814"/>
              <a:gd name="connsiteY1-58" fmla="*/ 0 h 3365500"/>
              <a:gd name="connsiteX2-59" fmla="*/ 3365500 w 3426814"/>
              <a:gd name="connsiteY2-60" fmla="*/ 246590 h 3365500"/>
              <a:gd name="connsiteX3-61" fmla="*/ 3365500 w 3426814"/>
              <a:gd name="connsiteY3-62" fmla="*/ 3365500 h 3365500"/>
              <a:gd name="connsiteX4-63" fmla="*/ 3365500 w 3426814"/>
              <a:gd name="connsiteY4-64" fmla="*/ 3365500 h 3365500"/>
              <a:gd name="connsiteX5-65" fmla="*/ 0 w 3426814"/>
              <a:gd name="connsiteY5-66" fmla="*/ 3365500 h 3365500"/>
              <a:gd name="connsiteX6-67" fmla="*/ 0 w 3426814"/>
              <a:gd name="connsiteY6-68" fmla="*/ 3365500 h 3365500"/>
              <a:gd name="connsiteX7-69" fmla="*/ 0 w 3426814"/>
              <a:gd name="connsiteY7-70" fmla="*/ 246590 h 3365500"/>
              <a:gd name="connsiteX8-71" fmla="*/ 246590 w 3426814"/>
              <a:gd name="connsiteY8-72" fmla="*/ 0 h 3365500"/>
              <a:gd name="connsiteX0-73" fmla="*/ 246590 w 3426814"/>
              <a:gd name="connsiteY0-74" fmla="*/ 0 h 3365500"/>
              <a:gd name="connsiteX1-75" fmla="*/ 3366560 w 3426814"/>
              <a:gd name="connsiteY1-76" fmla="*/ 0 h 3365500"/>
              <a:gd name="connsiteX2-77" fmla="*/ 3365500 w 3426814"/>
              <a:gd name="connsiteY2-78" fmla="*/ 246590 h 3365500"/>
              <a:gd name="connsiteX3-79" fmla="*/ 3367087 w 3426814"/>
              <a:gd name="connsiteY3-80" fmla="*/ 427037 h 3365500"/>
              <a:gd name="connsiteX4-81" fmla="*/ 3365500 w 3426814"/>
              <a:gd name="connsiteY4-82" fmla="*/ 3365500 h 3365500"/>
              <a:gd name="connsiteX5-83" fmla="*/ 3365500 w 3426814"/>
              <a:gd name="connsiteY5-84" fmla="*/ 3365500 h 3365500"/>
              <a:gd name="connsiteX6-85" fmla="*/ 0 w 3426814"/>
              <a:gd name="connsiteY6-86" fmla="*/ 3365500 h 3365500"/>
              <a:gd name="connsiteX7-87" fmla="*/ 0 w 3426814"/>
              <a:gd name="connsiteY7-88" fmla="*/ 3365500 h 3365500"/>
              <a:gd name="connsiteX8-89" fmla="*/ 0 w 3426814"/>
              <a:gd name="connsiteY8-90" fmla="*/ 246590 h 3365500"/>
              <a:gd name="connsiteX9" fmla="*/ 246590 w 3426814"/>
              <a:gd name="connsiteY9" fmla="*/ 0 h 3365500"/>
              <a:gd name="connsiteX0-91" fmla="*/ 246590 w 3599479"/>
              <a:gd name="connsiteY0-92" fmla="*/ 15825 h 3381325"/>
              <a:gd name="connsiteX1-93" fmla="*/ 3366560 w 3599479"/>
              <a:gd name="connsiteY1-94" fmla="*/ 15825 h 3381325"/>
              <a:gd name="connsiteX2-95" fmla="*/ 3371849 w 3599479"/>
              <a:gd name="connsiteY2-96" fmla="*/ 19000 h 3381325"/>
              <a:gd name="connsiteX3-97" fmla="*/ 3365500 w 3599479"/>
              <a:gd name="connsiteY3-98" fmla="*/ 262415 h 3381325"/>
              <a:gd name="connsiteX4-99" fmla="*/ 3367087 w 3599479"/>
              <a:gd name="connsiteY4-100" fmla="*/ 442862 h 3381325"/>
              <a:gd name="connsiteX5-101" fmla="*/ 3365500 w 3599479"/>
              <a:gd name="connsiteY5-102" fmla="*/ 3381325 h 3381325"/>
              <a:gd name="connsiteX6-103" fmla="*/ 3365500 w 3599479"/>
              <a:gd name="connsiteY6-104" fmla="*/ 3381325 h 3381325"/>
              <a:gd name="connsiteX7-105" fmla="*/ 0 w 3599479"/>
              <a:gd name="connsiteY7-106" fmla="*/ 3381325 h 3381325"/>
              <a:gd name="connsiteX8-107" fmla="*/ 0 w 3599479"/>
              <a:gd name="connsiteY8-108" fmla="*/ 3381325 h 3381325"/>
              <a:gd name="connsiteX9-109" fmla="*/ 0 w 3599479"/>
              <a:gd name="connsiteY9-110" fmla="*/ 262415 h 3381325"/>
              <a:gd name="connsiteX10" fmla="*/ 246590 w 3599479"/>
              <a:gd name="connsiteY10" fmla="*/ 15825 h 3381325"/>
              <a:gd name="connsiteX0-111" fmla="*/ 246590 w 3599419"/>
              <a:gd name="connsiteY0-112" fmla="*/ 29179 h 3394679"/>
              <a:gd name="connsiteX1-113" fmla="*/ 3366560 w 3599419"/>
              <a:gd name="connsiteY1-114" fmla="*/ 29179 h 3394679"/>
              <a:gd name="connsiteX2-115" fmla="*/ 3371849 w 3599419"/>
              <a:gd name="connsiteY2-116" fmla="*/ 32354 h 3394679"/>
              <a:gd name="connsiteX3-117" fmla="*/ 3367087 w 3599419"/>
              <a:gd name="connsiteY3-118" fmla="*/ 456216 h 3394679"/>
              <a:gd name="connsiteX4-119" fmla="*/ 3365500 w 3599419"/>
              <a:gd name="connsiteY4-120" fmla="*/ 3394679 h 3394679"/>
              <a:gd name="connsiteX5-121" fmla="*/ 3365500 w 3599419"/>
              <a:gd name="connsiteY5-122" fmla="*/ 3394679 h 3394679"/>
              <a:gd name="connsiteX6-123" fmla="*/ 0 w 3599419"/>
              <a:gd name="connsiteY6-124" fmla="*/ 3394679 h 3394679"/>
              <a:gd name="connsiteX7-125" fmla="*/ 0 w 3599419"/>
              <a:gd name="connsiteY7-126" fmla="*/ 3394679 h 3394679"/>
              <a:gd name="connsiteX8-127" fmla="*/ 0 w 3599419"/>
              <a:gd name="connsiteY8-128" fmla="*/ 275769 h 3394679"/>
              <a:gd name="connsiteX9-129" fmla="*/ 246590 w 3599419"/>
              <a:gd name="connsiteY9-130" fmla="*/ 29179 h 3394679"/>
              <a:gd name="connsiteX0-131" fmla="*/ 246590 w 3597884"/>
              <a:gd name="connsiteY0-132" fmla="*/ 0 h 3365500"/>
              <a:gd name="connsiteX1-133" fmla="*/ 3366560 w 3597884"/>
              <a:gd name="connsiteY1-134" fmla="*/ 0 h 3365500"/>
              <a:gd name="connsiteX2-135" fmla="*/ 3367087 w 3597884"/>
              <a:gd name="connsiteY2-136" fmla="*/ 427037 h 3365500"/>
              <a:gd name="connsiteX3-137" fmla="*/ 3365500 w 3597884"/>
              <a:gd name="connsiteY3-138" fmla="*/ 3365500 h 3365500"/>
              <a:gd name="connsiteX4-139" fmla="*/ 3365500 w 3597884"/>
              <a:gd name="connsiteY4-140" fmla="*/ 3365500 h 3365500"/>
              <a:gd name="connsiteX5-141" fmla="*/ 0 w 3597884"/>
              <a:gd name="connsiteY5-142" fmla="*/ 3365500 h 3365500"/>
              <a:gd name="connsiteX6-143" fmla="*/ 0 w 3597884"/>
              <a:gd name="connsiteY6-144" fmla="*/ 3365500 h 3365500"/>
              <a:gd name="connsiteX7-145" fmla="*/ 0 w 3597884"/>
              <a:gd name="connsiteY7-146" fmla="*/ 246590 h 3365500"/>
              <a:gd name="connsiteX8-147" fmla="*/ 246590 w 3597884"/>
              <a:gd name="connsiteY8-148" fmla="*/ 0 h 3365500"/>
              <a:gd name="connsiteX0-149" fmla="*/ 246590 w 3377753"/>
              <a:gd name="connsiteY0-150" fmla="*/ 16210 h 3381710"/>
              <a:gd name="connsiteX1-151" fmla="*/ 3366560 w 3377753"/>
              <a:gd name="connsiteY1-152" fmla="*/ 16210 h 3381710"/>
              <a:gd name="connsiteX2-153" fmla="*/ 3367087 w 3377753"/>
              <a:gd name="connsiteY2-154" fmla="*/ 443247 h 3381710"/>
              <a:gd name="connsiteX3-155" fmla="*/ 3365500 w 3377753"/>
              <a:gd name="connsiteY3-156" fmla="*/ 3381710 h 3381710"/>
              <a:gd name="connsiteX4-157" fmla="*/ 3365500 w 3377753"/>
              <a:gd name="connsiteY4-158" fmla="*/ 3381710 h 3381710"/>
              <a:gd name="connsiteX5-159" fmla="*/ 0 w 3377753"/>
              <a:gd name="connsiteY5-160" fmla="*/ 3381710 h 3381710"/>
              <a:gd name="connsiteX6-161" fmla="*/ 0 w 3377753"/>
              <a:gd name="connsiteY6-162" fmla="*/ 3381710 h 3381710"/>
              <a:gd name="connsiteX7-163" fmla="*/ 0 w 3377753"/>
              <a:gd name="connsiteY7-164" fmla="*/ 262800 h 3381710"/>
              <a:gd name="connsiteX8-165" fmla="*/ 246590 w 3377753"/>
              <a:gd name="connsiteY8-166" fmla="*/ 16210 h 3381710"/>
              <a:gd name="connsiteX0-167" fmla="*/ 246590 w 3367127"/>
              <a:gd name="connsiteY0-168" fmla="*/ 0 h 3365500"/>
              <a:gd name="connsiteX1-169" fmla="*/ 3366560 w 3367127"/>
              <a:gd name="connsiteY1-170" fmla="*/ 0 h 3365500"/>
              <a:gd name="connsiteX2-171" fmla="*/ 3367087 w 3367127"/>
              <a:gd name="connsiteY2-172" fmla="*/ 427037 h 3365500"/>
              <a:gd name="connsiteX3-173" fmla="*/ 3365500 w 3367127"/>
              <a:gd name="connsiteY3-174" fmla="*/ 3365500 h 3365500"/>
              <a:gd name="connsiteX4-175" fmla="*/ 3365500 w 3367127"/>
              <a:gd name="connsiteY4-176" fmla="*/ 3365500 h 3365500"/>
              <a:gd name="connsiteX5-177" fmla="*/ 0 w 3367127"/>
              <a:gd name="connsiteY5-178" fmla="*/ 3365500 h 3365500"/>
              <a:gd name="connsiteX6-179" fmla="*/ 0 w 3367127"/>
              <a:gd name="connsiteY6-180" fmla="*/ 3365500 h 3365500"/>
              <a:gd name="connsiteX7-181" fmla="*/ 0 w 3367127"/>
              <a:gd name="connsiteY7-182" fmla="*/ 246590 h 3365500"/>
              <a:gd name="connsiteX8-183" fmla="*/ 246590 w 3367127"/>
              <a:gd name="connsiteY8-184" fmla="*/ 0 h 3365500"/>
              <a:gd name="connsiteX0-185" fmla="*/ 246590 w 3367127"/>
              <a:gd name="connsiteY0-186" fmla="*/ 0 h 3365500"/>
              <a:gd name="connsiteX1-187" fmla="*/ 3366560 w 3367127"/>
              <a:gd name="connsiteY1-188" fmla="*/ 0 h 3365500"/>
              <a:gd name="connsiteX2-189" fmla="*/ 3367087 w 3367127"/>
              <a:gd name="connsiteY2-190" fmla="*/ 427037 h 3365500"/>
              <a:gd name="connsiteX3-191" fmla="*/ 3365500 w 3367127"/>
              <a:gd name="connsiteY3-192" fmla="*/ 3365500 h 3365500"/>
              <a:gd name="connsiteX4-193" fmla="*/ 3365500 w 3367127"/>
              <a:gd name="connsiteY4-194" fmla="*/ 3365500 h 3365500"/>
              <a:gd name="connsiteX5-195" fmla="*/ 0 w 3367127"/>
              <a:gd name="connsiteY5-196" fmla="*/ 3365500 h 3365500"/>
              <a:gd name="connsiteX6-197" fmla="*/ 0 w 3367127"/>
              <a:gd name="connsiteY6-198" fmla="*/ 3365500 h 3365500"/>
              <a:gd name="connsiteX7-199" fmla="*/ 0 w 3367127"/>
              <a:gd name="connsiteY7-200" fmla="*/ 246590 h 3365500"/>
              <a:gd name="connsiteX8-201" fmla="*/ 246590 w 3367127"/>
              <a:gd name="connsiteY8-202" fmla="*/ 0 h 3365500"/>
              <a:gd name="connsiteX0-203" fmla="*/ 246590 w 3597354"/>
              <a:gd name="connsiteY0-204" fmla="*/ 0 h 3365500"/>
              <a:gd name="connsiteX1-205" fmla="*/ 3366560 w 3597354"/>
              <a:gd name="connsiteY1-206" fmla="*/ 0 h 3365500"/>
              <a:gd name="connsiteX2-207" fmla="*/ 3365500 w 3597354"/>
              <a:gd name="connsiteY2-208" fmla="*/ 3365500 h 3365500"/>
              <a:gd name="connsiteX3-209" fmla="*/ 3365500 w 3597354"/>
              <a:gd name="connsiteY3-210" fmla="*/ 3365500 h 3365500"/>
              <a:gd name="connsiteX4-211" fmla="*/ 0 w 3597354"/>
              <a:gd name="connsiteY4-212" fmla="*/ 3365500 h 3365500"/>
              <a:gd name="connsiteX5-213" fmla="*/ 0 w 3597354"/>
              <a:gd name="connsiteY5-214" fmla="*/ 3365500 h 3365500"/>
              <a:gd name="connsiteX6-215" fmla="*/ 0 w 3597354"/>
              <a:gd name="connsiteY6-216" fmla="*/ 246590 h 3365500"/>
              <a:gd name="connsiteX7-217" fmla="*/ 246590 w 3597354"/>
              <a:gd name="connsiteY7-218" fmla="*/ 0 h 3365500"/>
              <a:gd name="connsiteX0-219" fmla="*/ 246590 w 3367119"/>
              <a:gd name="connsiteY0-220" fmla="*/ 0 h 3365500"/>
              <a:gd name="connsiteX1-221" fmla="*/ 3366560 w 3367119"/>
              <a:gd name="connsiteY1-222" fmla="*/ 0 h 3365500"/>
              <a:gd name="connsiteX2-223" fmla="*/ 3365500 w 3367119"/>
              <a:gd name="connsiteY2-224" fmla="*/ 3365500 h 3365500"/>
              <a:gd name="connsiteX3-225" fmla="*/ 3365500 w 3367119"/>
              <a:gd name="connsiteY3-226" fmla="*/ 3365500 h 3365500"/>
              <a:gd name="connsiteX4-227" fmla="*/ 0 w 3367119"/>
              <a:gd name="connsiteY4-228" fmla="*/ 3365500 h 3365500"/>
              <a:gd name="connsiteX5-229" fmla="*/ 0 w 3367119"/>
              <a:gd name="connsiteY5-230" fmla="*/ 3365500 h 3365500"/>
              <a:gd name="connsiteX6-231" fmla="*/ 0 w 3367119"/>
              <a:gd name="connsiteY6-232" fmla="*/ 246590 h 3365500"/>
              <a:gd name="connsiteX7-233" fmla="*/ 246590 w 3367119"/>
              <a:gd name="connsiteY7-234" fmla="*/ 0 h 3365500"/>
              <a:gd name="connsiteX0-235" fmla="*/ 246590 w 3366560"/>
              <a:gd name="connsiteY0-236" fmla="*/ 0 h 3365500"/>
              <a:gd name="connsiteX1-237" fmla="*/ 3366560 w 3366560"/>
              <a:gd name="connsiteY1-238" fmla="*/ 0 h 3365500"/>
              <a:gd name="connsiteX2-239" fmla="*/ 3365500 w 3366560"/>
              <a:gd name="connsiteY2-240" fmla="*/ 3365500 h 3365500"/>
              <a:gd name="connsiteX3-241" fmla="*/ 3365500 w 3366560"/>
              <a:gd name="connsiteY3-242" fmla="*/ 3365500 h 3365500"/>
              <a:gd name="connsiteX4-243" fmla="*/ 0 w 3366560"/>
              <a:gd name="connsiteY4-244" fmla="*/ 3365500 h 3365500"/>
              <a:gd name="connsiteX5-245" fmla="*/ 0 w 3366560"/>
              <a:gd name="connsiteY5-246" fmla="*/ 3365500 h 3365500"/>
              <a:gd name="connsiteX6-247" fmla="*/ 0 w 3366560"/>
              <a:gd name="connsiteY6-248" fmla="*/ 246590 h 3365500"/>
              <a:gd name="connsiteX7-249" fmla="*/ 246590 w 3366560"/>
              <a:gd name="connsiteY7-250" fmla="*/ 0 h 33655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</a:cxnLst>
            <a:rect l="l" t="t" r="r" b="b"/>
            <a:pathLst>
              <a:path w="3366560" h="3365500">
                <a:moveTo>
                  <a:pt x="246590" y="0"/>
                </a:moveTo>
                <a:lnTo>
                  <a:pt x="3366560" y="0"/>
                </a:lnTo>
                <a:cubicBezTo>
                  <a:pt x="3363456" y="57044"/>
                  <a:pt x="3365677" y="2804583"/>
                  <a:pt x="3365500" y="3365500"/>
                </a:cubicBezTo>
                <a:lnTo>
                  <a:pt x="3365500" y="3365500"/>
                </a:lnTo>
                <a:lnTo>
                  <a:pt x="0" y="3365500"/>
                </a:lnTo>
                <a:lnTo>
                  <a:pt x="0" y="3365500"/>
                </a:lnTo>
                <a:lnTo>
                  <a:pt x="0" y="246590"/>
                </a:lnTo>
                <a:cubicBezTo>
                  <a:pt x="0" y="110402"/>
                  <a:pt x="110402" y="0"/>
                  <a:pt x="246590" y="0"/>
                </a:cubicBezTo>
                <a:close/>
              </a:path>
            </a:pathLst>
          </a:cu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1764000"/>
            <a:ext cx="10210271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1" name="矩形 10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10427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</a:t>
            </a:r>
            <a:endParaRPr lang="en-US" altLang="zh-CN" dirty="0"/>
          </a:p>
          <a:p>
            <a:r>
              <a:rPr lang="zh-CN" altLang="en-US" dirty="0"/>
              <a:t> 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1764000"/>
            <a:ext cx="10210271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  <a:p>
            <a:pPr lvl="0"/>
            <a:endParaRPr lang="en-US" altLang="zh-CN" dirty="0"/>
          </a:p>
        </p:txBody>
      </p:sp>
      <p:sp>
        <p:nvSpPr>
          <p:cNvPr id="11" name="矩形 10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10427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</a:t>
            </a:r>
            <a:endParaRPr lang="en-US" altLang="zh-CN" dirty="0"/>
          </a:p>
          <a:p>
            <a:r>
              <a:rPr lang="zh-CN" altLang="en-US" dirty="0"/>
              <a:t> 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正文页 两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矩形 12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1" y="1764000"/>
            <a:ext cx="4823886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16" hasCustomPrompt="1"/>
          </p:nvPr>
        </p:nvSpPr>
        <p:spPr>
          <a:xfrm>
            <a:off x="5894385" y="1764000"/>
            <a:ext cx="4963886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10427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</a:t>
            </a:r>
            <a:endParaRPr lang="en-US" altLang="zh-CN" dirty="0"/>
          </a:p>
          <a:p>
            <a:r>
              <a:rPr lang="zh-CN" altLang="en-US" dirty="0"/>
              <a:t> </a:t>
            </a: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三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5" name="组合 44"/>
          <p:cNvGrpSpPr/>
          <p:nvPr userDrawn="1"/>
        </p:nvGrpSpPr>
        <p:grpSpPr>
          <a:xfrm>
            <a:off x="9109729" y="2805322"/>
            <a:ext cx="1762683" cy="1762683"/>
            <a:chOff x="5074007" y="2605210"/>
            <a:chExt cx="1376915" cy="1376915"/>
          </a:xfrm>
        </p:grpSpPr>
        <p:sp>
          <p:nvSpPr>
            <p:cNvPr id="46" name="矩形 45"/>
            <p:cNvSpPr/>
            <p:nvPr/>
          </p:nvSpPr>
          <p:spPr>
            <a:xfrm>
              <a:off x="5074007" y="2605210"/>
              <a:ext cx="1376915" cy="1376915"/>
            </a:xfrm>
            <a:prstGeom prst="rect">
              <a:avLst/>
            </a:prstGeom>
            <a:solidFill>
              <a:srgbClr val="629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sp>
          <p:nvSpPr>
            <p:cNvPr id="47" name="Freeform 19"/>
            <p:cNvSpPr/>
            <p:nvPr/>
          </p:nvSpPr>
          <p:spPr bwMode="auto">
            <a:xfrm>
              <a:off x="6145159" y="3078509"/>
              <a:ext cx="150832" cy="145379"/>
            </a:xfrm>
            <a:custGeom>
              <a:avLst/>
              <a:gdLst>
                <a:gd name="T0" fmla="*/ 83 w 83"/>
                <a:gd name="T1" fmla="*/ 26 h 80"/>
                <a:gd name="T2" fmla="*/ 57 w 83"/>
                <a:gd name="T3" fmla="*/ 26 h 80"/>
                <a:gd name="T4" fmla="*/ 57 w 83"/>
                <a:gd name="T5" fmla="*/ 0 h 80"/>
                <a:gd name="T6" fmla="*/ 29 w 83"/>
                <a:gd name="T7" fmla="*/ 0 h 80"/>
                <a:gd name="T8" fmla="*/ 29 w 83"/>
                <a:gd name="T9" fmla="*/ 26 h 80"/>
                <a:gd name="T10" fmla="*/ 0 w 83"/>
                <a:gd name="T11" fmla="*/ 26 h 80"/>
                <a:gd name="T12" fmla="*/ 0 w 83"/>
                <a:gd name="T13" fmla="*/ 54 h 80"/>
                <a:gd name="T14" fmla="*/ 29 w 83"/>
                <a:gd name="T15" fmla="*/ 54 h 80"/>
                <a:gd name="T16" fmla="*/ 29 w 83"/>
                <a:gd name="T17" fmla="*/ 80 h 80"/>
                <a:gd name="T18" fmla="*/ 57 w 83"/>
                <a:gd name="T19" fmla="*/ 80 h 80"/>
                <a:gd name="T20" fmla="*/ 57 w 83"/>
                <a:gd name="T21" fmla="*/ 54 h 80"/>
                <a:gd name="T22" fmla="*/ 83 w 83"/>
                <a:gd name="T23" fmla="*/ 54 h 80"/>
                <a:gd name="T24" fmla="*/ 83 w 83"/>
                <a:gd name="T25" fmla="*/ 2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80">
                  <a:moveTo>
                    <a:pt x="83" y="26"/>
                  </a:moveTo>
                  <a:lnTo>
                    <a:pt x="57" y="26"/>
                  </a:lnTo>
                  <a:lnTo>
                    <a:pt x="57" y="0"/>
                  </a:lnTo>
                  <a:lnTo>
                    <a:pt x="29" y="0"/>
                  </a:lnTo>
                  <a:lnTo>
                    <a:pt x="29" y="26"/>
                  </a:lnTo>
                  <a:lnTo>
                    <a:pt x="0" y="26"/>
                  </a:lnTo>
                  <a:lnTo>
                    <a:pt x="0" y="54"/>
                  </a:lnTo>
                  <a:lnTo>
                    <a:pt x="29" y="54"/>
                  </a:lnTo>
                  <a:lnTo>
                    <a:pt x="29" y="80"/>
                  </a:lnTo>
                  <a:lnTo>
                    <a:pt x="57" y="80"/>
                  </a:lnTo>
                  <a:lnTo>
                    <a:pt x="57" y="54"/>
                  </a:lnTo>
                  <a:lnTo>
                    <a:pt x="83" y="54"/>
                  </a:lnTo>
                  <a:lnTo>
                    <a:pt x="83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48" name="Freeform 20"/>
            <p:cNvSpPr/>
            <p:nvPr/>
          </p:nvSpPr>
          <p:spPr bwMode="auto">
            <a:xfrm>
              <a:off x="6099726" y="3274770"/>
              <a:ext cx="143562" cy="243510"/>
            </a:xfrm>
            <a:custGeom>
              <a:avLst/>
              <a:gdLst>
                <a:gd name="T0" fmla="*/ 17 w 25"/>
                <a:gd name="T1" fmla="*/ 25 h 42"/>
                <a:gd name="T2" fmla="*/ 8 w 25"/>
                <a:gd name="T3" fmla="*/ 34 h 42"/>
                <a:gd name="T4" fmla="*/ 5 w 25"/>
                <a:gd name="T5" fmla="*/ 34 h 42"/>
                <a:gd name="T6" fmla="*/ 0 w 25"/>
                <a:gd name="T7" fmla="*/ 38 h 42"/>
                <a:gd name="T8" fmla="*/ 5 w 25"/>
                <a:gd name="T9" fmla="*/ 42 h 42"/>
                <a:gd name="T10" fmla="*/ 8 w 25"/>
                <a:gd name="T11" fmla="*/ 42 h 42"/>
                <a:gd name="T12" fmla="*/ 25 w 25"/>
                <a:gd name="T13" fmla="*/ 25 h 42"/>
                <a:gd name="T14" fmla="*/ 25 w 25"/>
                <a:gd name="T15" fmla="*/ 0 h 42"/>
                <a:gd name="T16" fmla="*/ 17 w 25"/>
                <a:gd name="T17" fmla="*/ 0 h 42"/>
                <a:gd name="T18" fmla="*/ 17 w 25"/>
                <a:gd name="T19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42">
                  <a:moveTo>
                    <a:pt x="17" y="25"/>
                  </a:moveTo>
                  <a:cubicBezTo>
                    <a:pt x="17" y="30"/>
                    <a:pt x="13" y="34"/>
                    <a:pt x="8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2" y="34"/>
                    <a:pt x="0" y="36"/>
                    <a:pt x="0" y="38"/>
                  </a:cubicBezTo>
                  <a:cubicBezTo>
                    <a:pt x="0" y="41"/>
                    <a:pt x="2" y="42"/>
                    <a:pt x="5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18" y="42"/>
                    <a:pt x="25" y="35"/>
                    <a:pt x="25" y="25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7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49" name="Freeform 21"/>
            <p:cNvSpPr/>
            <p:nvPr/>
          </p:nvSpPr>
          <p:spPr bwMode="auto">
            <a:xfrm>
              <a:off x="5076621" y="2847719"/>
              <a:ext cx="1166668" cy="179908"/>
            </a:xfrm>
            <a:custGeom>
              <a:avLst/>
              <a:gdLst>
                <a:gd name="T0" fmla="*/ 186 w 203"/>
                <a:gd name="T1" fmla="*/ 0 h 31"/>
                <a:gd name="T2" fmla="*/ 0 w 203"/>
                <a:gd name="T3" fmla="*/ 0 h 31"/>
                <a:gd name="T4" fmla="*/ 0 w 203"/>
                <a:gd name="T5" fmla="*/ 9 h 31"/>
                <a:gd name="T6" fmla="*/ 186 w 203"/>
                <a:gd name="T7" fmla="*/ 9 h 31"/>
                <a:gd name="T8" fmla="*/ 195 w 203"/>
                <a:gd name="T9" fmla="*/ 17 h 31"/>
                <a:gd name="T10" fmla="*/ 195 w 203"/>
                <a:gd name="T11" fmla="*/ 31 h 31"/>
                <a:gd name="T12" fmla="*/ 203 w 203"/>
                <a:gd name="T13" fmla="*/ 31 h 31"/>
                <a:gd name="T14" fmla="*/ 203 w 203"/>
                <a:gd name="T15" fmla="*/ 17 h 31"/>
                <a:gd name="T16" fmla="*/ 186 w 203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31">
                  <a:moveTo>
                    <a:pt x="1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91" y="9"/>
                    <a:pt x="195" y="13"/>
                    <a:pt x="195" y="17"/>
                  </a:cubicBezTo>
                  <a:cubicBezTo>
                    <a:pt x="195" y="31"/>
                    <a:pt x="195" y="31"/>
                    <a:pt x="195" y="31"/>
                  </a:cubicBezTo>
                  <a:cubicBezTo>
                    <a:pt x="203" y="31"/>
                    <a:pt x="203" y="31"/>
                    <a:pt x="203" y="31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203" y="8"/>
                    <a:pt x="196" y="0"/>
                    <a:pt x="18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0" name="Freeform 22"/>
            <p:cNvSpPr>
              <a:spLocks noEditPoints="1"/>
            </p:cNvSpPr>
            <p:nvPr/>
          </p:nvSpPr>
          <p:spPr bwMode="auto">
            <a:xfrm>
              <a:off x="5278335" y="3580066"/>
              <a:ext cx="648756" cy="278039"/>
            </a:xfrm>
            <a:custGeom>
              <a:avLst/>
              <a:gdLst>
                <a:gd name="T0" fmla="*/ 113 w 113"/>
                <a:gd name="T1" fmla="*/ 31 h 48"/>
                <a:gd name="T2" fmla="*/ 95 w 113"/>
                <a:gd name="T3" fmla="*/ 12 h 48"/>
                <a:gd name="T4" fmla="*/ 70 w 113"/>
                <a:gd name="T5" fmla="*/ 2 h 48"/>
                <a:gd name="T6" fmla="*/ 55 w 113"/>
                <a:gd name="T7" fmla="*/ 0 h 48"/>
                <a:gd name="T8" fmla="*/ 42 w 113"/>
                <a:gd name="T9" fmla="*/ 2 h 48"/>
                <a:gd name="T10" fmla="*/ 18 w 113"/>
                <a:gd name="T11" fmla="*/ 12 h 48"/>
                <a:gd name="T12" fmla="*/ 0 w 113"/>
                <a:gd name="T13" fmla="*/ 31 h 48"/>
                <a:gd name="T14" fmla="*/ 1 w 113"/>
                <a:gd name="T15" fmla="*/ 34 h 48"/>
                <a:gd name="T16" fmla="*/ 58 w 113"/>
                <a:gd name="T17" fmla="*/ 48 h 48"/>
                <a:gd name="T18" fmla="*/ 110 w 113"/>
                <a:gd name="T19" fmla="*/ 38 h 48"/>
                <a:gd name="T20" fmla="*/ 113 w 113"/>
                <a:gd name="T21" fmla="*/ 32 h 48"/>
                <a:gd name="T22" fmla="*/ 113 w 113"/>
                <a:gd name="T23" fmla="*/ 31 h 48"/>
                <a:gd name="T24" fmla="*/ 58 w 113"/>
                <a:gd name="T25" fmla="*/ 40 h 48"/>
                <a:gd name="T26" fmla="*/ 9 w 113"/>
                <a:gd name="T27" fmla="*/ 31 h 48"/>
                <a:gd name="T28" fmla="*/ 22 w 113"/>
                <a:gd name="T29" fmla="*/ 19 h 48"/>
                <a:gd name="T30" fmla="*/ 44 w 113"/>
                <a:gd name="T31" fmla="*/ 10 h 48"/>
                <a:gd name="T32" fmla="*/ 45 w 113"/>
                <a:gd name="T33" fmla="*/ 10 h 48"/>
                <a:gd name="T34" fmla="*/ 55 w 113"/>
                <a:gd name="T35" fmla="*/ 9 h 48"/>
                <a:gd name="T36" fmla="*/ 69 w 113"/>
                <a:gd name="T37" fmla="*/ 10 h 48"/>
                <a:gd name="T38" fmla="*/ 90 w 113"/>
                <a:gd name="T39" fmla="*/ 19 h 48"/>
                <a:gd name="T40" fmla="*/ 104 w 113"/>
                <a:gd name="T41" fmla="*/ 32 h 48"/>
                <a:gd name="T42" fmla="*/ 58 w 113"/>
                <a:gd name="T43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3" h="48">
                  <a:moveTo>
                    <a:pt x="113" y="31"/>
                  </a:moveTo>
                  <a:cubicBezTo>
                    <a:pt x="111" y="24"/>
                    <a:pt x="105" y="18"/>
                    <a:pt x="95" y="12"/>
                  </a:cubicBezTo>
                  <a:cubicBezTo>
                    <a:pt x="86" y="6"/>
                    <a:pt x="75" y="3"/>
                    <a:pt x="70" y="2"/>
                  </a:cubicBezTo>
                  <a:cubicBezTo>
                    <a:pt x="65" y="1"/>
                    <a:pt x="60" y="0"/>
                    <a:pt x="55" y="0"/>
                  </a:cubicBezTo>
                  <a:cubicBezTo>
                    <a:pt x="48" y="0"/>
                    <a:pt x="43" y="1"/>
                    <a:pt x="42" y="2"/>
                  </a:cubicBezTo>
                  <a:cubicBezTo>
                    <a:pt x="37" y="3"/>
                    <a:pt x="27" y="7"/>
                    <a:pt x="18" y="12"/>
                  </a:cubicBezTo>
                  <a:cubicBezTo>
                    <a:pt x="8" y="18"/>
                    <a:pt x="2" y="24"/>
                    <a:pt x="0" y="31"/>
                  </a:cubicBezTo>
                  <a:cubicBezTo>
                    <a:pt x="0" y="32"/>
                    <a:pt x="0" y="33"/>
                    <a:pt x="1" y="34"/>
                  </a:cubicBezTo>
                  <a:cubicBezTo>
                    <a:pt x="2" y="36"/>
                    <a:pt x="10" y="48"/>
                    <a:pt x="58" y="48"/>
                  </a:cubicBezTo>
                  <a:cubicBezTo>
                    <a:pt x="86" y="48"/>
                    <a:pt x="104" y="45"/>
                    <a:pt x="110" y="38"/>
                  </a:cubicBezTo>
                  <a:cubicBezTo>
                    <a:pt x="113" y="35"/>
                    <a:pt x="113" y="32"/>
                    <a:pt x="113" y="32"/>
                  </a:cubicBezTo>
                  <a:cubicBezTo>
                    <a:pt x="113" y="31"/>
                    <a:pt x="113" y="31"/>
                    <a:pt x="113" y="31"/>
                  </a:cubicBezTo>
                  <a:close/>
                  <a:moveTo>
                    <a:pt x="58" y="40"/>
                  </a:moveTo>
                  <a:cubicBezTo>
                    <a:pt x="24" y="40"/>
                    <a:pt x="13" y="34"/>
                    <a:pt x="9" y="31"/>
                  </a:cubicBezTo>
                  <a:cubicBezTo>
                    <a:pt x="11" y="28"/>
                    <a:pt x="14" y="24"/>
                    <a:pt x="22" y="19"/>
                  </a:cubicBezTo>
                  <a:cubicBezTo>
                    <a:pt x="31" y="14"/>
                    <a:pt x="41" y="10"/>
                    <a:pt x="44" y="10"/>
                  </a:cubicBezTo>
                  <a:cubicBezTo>
                    <a:pt x="44" y="10"/>
                    <a:pt x="44" y="10"/>
                    <a:pt x="45" y="10"/>
                  </a:cubicBezTo>
                  <a:cubicBezTo>
                    <a:pt x="45" y="10"/>
                    <a:pt x="48" y="9"/>
                    <a:pt x="55" y="9"/>
                  </a:cubicBezTo>
                  <a:cubicBezTo>
                    <a:pt x="59" y="9"/>
                    <a:pt x="64" y="9"/>
                    <a:pt x="69" y="10"/>
                  </a:cubicBezTo>
                  <a:cubicBezTo>
                    <a:pt x="72" y="11"/>
                    <a:pt x="82" y="14"/>
                    <a:pt x="90" y="19"/>
                  </a:cubicBezTo>
                  <a:cubicBezTo>
                    <a:pt x="99" y="25"/>
                    <a:pt x="103" y="29"/>
                    <a:pt x="104" y="32"/>
                  </a:cubicBezTo>
                  <a:cubicBezTo>
                    <a:pt x="102" y="34"/>
                    <a:pt x="94" y="40"/>
                    <a:pt x="58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1" name="Freeform 23"/>
            <p:cNvSpPr>
              <a:spLocks noEditPoints="1"/>
            </p:cNvSpPr>
            <p:nvPr/>
          </p:nvSpPr>
          <p:spPr bwMode="auto">
            <a:xfrm>
              <a:off x="5450971" y="3263867"/>
              <a:ext cx="298027" cy="305295"/>
            </a:xfrm>
            <a:custGeom>
              <a:avLst/>
              <a:gdLst>
                <a:gd name="T0" fmla="*/ 0 w 52"/>
                <a:gd name="T1" fmla="*/ 26 h 53"/>
                <a:gd name="T2" fmla="*/ 26 w 52"/>
                <a:gd name="T3" fmla="*/ 53 h 53"/>
                <a:gd name="T4" fmla="*/ 52 w 52"/>
                <a:gd name="T5" fmla="*/ 26 h 53"/>
                <a:gd name="T6" fmla="*/ 26 w 52"/>
                <a:gd name="T7" fmla="*/ 0 h 53"/>
                <a:gd name="T8" fmla="*/ 0 w 52"/>
                <a:gd name="T9" fmla="*/ 26 h 53"/>
                <a:gd name="T10" fmla="*/ 26 w 52"/>
                <a:gd name="T11" fmla="*/ 9 h 53"/>
                <a:gd name="T12" fmla="*/ 44 w 52"/>
                <a:gd name="T13" fmla="*/ 26 h 53"/>
                <a:gd name="T14" fmla="*/ 26 w 52"/>
                <a:gd name="T15" fmla="*/ 44 h 53"/>
                <a:gd name="T16" fmla="*/ 9 w 52"/>
                <a:gd name="T17" fmla="*/ 26 h 53"/>
                <a:gd name="T18" fmla="*/ 26 w 52"/>
                <a:gd name="T19" fmla="*/ 9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3">
                  <a:moveTo>
                    <a:pt x="0" y="26"/>
                  </a:moveTo>
                  <a:cubicBezTo>
                    <a:pt x="0" y="41"/>
                    <a:pt x="12" y="53"/>
                    <a:pt x="26" y="53"/>
                  </a:cubicBezTo>
                  <a:cubicBezTo>
                    <a:pt x="41" y="53"/>
                    <a:pt x="52" y="41"/>
                    <a:pt x="52" y="26"/>
                  </a:cubicBezTo>
                  <a:cubicBezTo>
                    <a:pt x="52" y="12"/>
                    <a:pt x="41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lose/>
                  <a:moveTo>
                    <a:pt x="26" y="9"/>
                  </a:moveTo>
                  <a:cubicBezTo>
                    <a:pt x="36" y="9"/>
                    <a:pt x="44" y="17"/>
                    <a:pt x="44" y="26"/>
                  </a:cubicBezTo>
                  <a:cubicBezTo>
                    <a:pt x="44" y="36"/>
                    <a:pt x="36" y="44"/>
                    <a:pt x="26" y="44"/>
                  </a:cubicBezTo>
                  <a:cubicBezTo>
                    <a:pt x="17" y="44"/>
                    <a:pt x="9" y="36"/>
                    <a:pt x="9" y="26"/>
                  </a:cubicBezTo>
                  <a:cubicBezTo>
                    <a:pt x="9" y="17"/>
                    <a:pt x="17" y="9"/>
                    <a:pt x="26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2" name="Freeform 24"/>
            <p:cNvSpPr>
              <a:spLocks noEditPoints="1"/>
            </p:cNvSpPr>
            <p:nvPr/>
          </p:nvSpPr>
          <p:spPr bwMode="auto">
            <a:xfrm>
              <a:off x="5076621" y="3229341"/>
              <a:ext cx="408879" cy="461578"/>
            </a:xfrm>
            <a:custGeom>
              <a:avLst/>
              <a:gdLst>
                <a:gd name="T0" fmla="*/ 69 w 71"/>
                <a:gd name="T1" fmla="*/ 53 h 80"/>
                <a:gd name="T2" fmla="*/ 46 w 71"/>
                <a:gd name="T3" fmla="*/ 43 h 80"/>
                <a:gd name="T4" fmla="*/ 38 w 71"/>
                <a:gd name="T5" fmla="*/ 42 h 80"/>
                <a:gd name="T6" fmla="*/ 56 w 71"/>
                <a:gd name="T7" fmla="*/ 21 h 80"/>
                <a:gd name="T8" fmla="*/ 36 w 71"/>
                <a:gd name="T9" fmla="*/ 0 h 80"/>
                <a:gd name="T10" fmla="*/ 15 w 71"/>
                <a:gd name="T11" fmla="*/ 21 h 80"/>
                <a:gd name="T12" fmla="*/ 33 w 71"/>
                <a:gd name="T13" fmla="*/ 42 h 80"/>
                <a:gd name="T14" fmla="*/ 25 w 71"/>
                <a:gd name="T15" fmla="*/ 43 h 80"/>
                <a:gd name="T16" fmla="*/ 6 w 71"/>
                <a:gd name="T17" fmla="*/ 51 h 80"/>
                <a:gd name="T18" fmla="*/ 0 w 71"/>
                <a:gd name="T19" fmla="*/ 55 h 80"/>
                <a:gd name="T20" fmla="*/ 0 w 71"/>
                <a:gd name="T21" fmla="*/ 74 h 80"/>
                <a:gd name="T22" fmla="*/ 38 w 71"/>
                <a:gd name="T23" fmla="*/ 80 h 80"/>
                <a:gd name="T24" fmla="*/ 42 w 71"/>
                <a:gd name="T25" fmla="*/ 76 h 80"/>
                <a:gd name="T26" fmla="*/ 38 w 71"/>
                <a:gd name="T27" fmla="*/ 71 h 80"/>
                <a:gd name="T28" fmla="*/ 2 w 71"/>
                <a:gd name="T29" fmla="*/ 66 h 80"/>
                <a:gd name="T30" fmla="*/ 11 w 71"/>
                <a:gd name="T31" fmla="*/ 58 h 80"/>
                <a:gd name="T32" fmla="*/ 26 w 71"/>
                <a:gd name="T33" fmla="*/ 51 h 80"/>
                <a:gd name="T34" fmla="*/ 27 w 71"/>
                <a:gd name="T35" fmla="*/ 51 h 80"/>
                <a:gd name="T36" fmla="*/ 45 w 71"/>
                <a:gd name="T37" fmla="*/ 51 h 80"/>
                <a:gd name="T38" fmla="*/ 64 w 71"/>
                <a:gd name="T39" fmla="*/ 60 h 80"/>
                <a:gd name="T40" fmla="*/ 70 w 71"/>
                <a:gd name="T41" fmla="*/ 59 h 80"/>
                <a:gd name="T42" fmla="*/ 69 w 71"/>
                <a:gd name="T43" fmla="*/ 53 h 80"/>
                <a:gd name="T44" fmla="*/ 23 w 71"/>
                <a:gd name="T45" fmla="*/ 21 h 80"/>
                <a:gd name="T46" fmla="*/ 36 w 71"/>
                <a:gd name="T47" fmla="*/ 9 h 80"/>
                <a:gd name="T48" fmla="*/ 48 w 71"/>
                <a:gd name="T49" fmla="*/ 21 h 80"/>
                <a:gd name="T50" fmla="*/ 36 w 71"/>
                <a:gd name="T51" fmla="*/ 33 h 80"/>
                <a:gd name="T52" fmla="*/ 23 w 71"/>
                <a:gd name="T53" fmla="*/ 2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" h="80">
                  <a:moveTo>
                    <a:pt x="69" y="53"/>
                  </a:moveTo>
                  <a:cubicBezTo>
                    <a:pt x="61" y="48"/>
                    <a:pt x="50" y="43"/>
                    <a:pt x="46" y="43"/>
                  </a:cubicBezTo>
                  <a:cubicBezTo>
                    <a:pt x="43" y="42"/>
                    <a:pt x="40" y="42"/>
                    <a:pt x="38" y="42"/>
                  </a:cubicBezTo>
                  <a:cubicBezTo>
                    <a:pt x="48" y="41"/>
                    <a:pt x="56" y="32"/>
                    <a:pt x="56" y="21"/>
                  </a:cubicBezTo>
                  <a:cubicBezTo>
                    <a:pt x="56" y="10"/>
                    <a:pt x="47" y="0"/>
                    <a:pt x="36" y="0"/>
                  </a:cubicBezTo>
                  <a:cubicBezTo>
                    <a:pt x="24" y="0"/>
                    <a:pt x="15" y="10"/>
                    <a:pt x="15" y="21"/>
                  </a:cubicBezTo>
                  <a:cubicBezTo>
                    <a:pt x="15" y="32"/>
                    <a:pt x="23" y="40"/>
                    <a:pt x="33" y="42"/>
                  </a:cubicBezTo>
                  <a:cubicBezTo>
                    <a:pt x="29" y="42"/>
                    <a:pt x="26" y="42"/>
                    <a:pt x="25" y="43"/>
                  </a:cubicBezTo>
                  <a:cubicBezTo>
                    <a:pt x="21" y="43"/>
                    <a:pt x="13" y="47"/>
                    <a:pt x="6" y="51"/>
                  </a:cubicBezTo>
                  <a:cubicBezTo>
                    <a:pt x="4" y="52"/>
                    <a:pt x="1" y="54"/>
                    <a:pt x="0" y="5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6" y="77"/>
                    <a:pt x="17" y="80"/>
                    <a:pt x="38" y="80"/>
                  </a:cubicBezTo>
                  <a:cubicBezTo>
                    <a:pt x="40" y="80"/>
                    <a:pt x="42" y="78"/>
                    <a:pt x="42" y="76"/>
                  </a:cubicBezTo>
                  <a:cubicBezTo>
                    <a:pt x="42" y="73"/>
                    <a:pt x="40" y="71"/>
                    <a:pt x="38" y="71"/>
                  </a:cubicBezTo>
                  <a:cubicBezTo>
                    <a:pt x="14" y="71"/>
                    <a:pt x="5" y="68"/>
                    <a:pt x="2" y="66"/>
                  </a:cubicBezTo>
                  <a:cubicBezTo>
                    <a:pt x="3" y="64"/>
                    <a:pt x="5" y="61"/>
                    <a:pt x="11" y="58"/>
                  </a:cubicBezTo>
                  <a:cubicBezTo>
                    <a:pt x="17" y="54"/>
                    <a:pt x="24" y="51"/>
                    <a:pt x="26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7" y="51"/>
                    <a:pt x="33" y="49"/>
                    <a:pt x="45" y="51"/>
                  </a:cubicBezTo>
                  <a:cubicBezTo>
                    <a:pt x="47" y="51"/>
                    <a:pt x="57" y="55"/>
                    <a:pt x="64" y="60"/>
                  </a:cubicBezTo>
                  <a:cubicBezTo>
                    <a:pt x="66" y="61"/>
                    <a:pt x="69" y="61"/>
                    <a:pt x="70" y="59"/>
                  </a:cubicBezTo>
                  <a:cubicBezTo>
                    <a:pt x="71" y="57"/>
                    <a:pt x="71" y="54"/>
                    <a:pt x="69" y="53"/>
                  </a:cubicBezTo>
                  <a:close/>
                  <a:moveTo>
                    <a:pt x="23" y="21"/>
                  </a:moveTo>
                  <a:cubicBezTo>
                    <a:pt x="23" y="14"/>
                    <a:pt x="29" y="9"/>
                    <a:pt x="36" y="9"/>
                  </a:cubicBezTo>
                  <a:cubicBezTo>
                    <a:pt x="42" y="9"/>
                    <a:pt x="48" y="14"/>
                    <a:pt x="48" y="21"/>
                  </a:cubicBezTo>
                  <a:cubicBezTo>
                    <a:pt x="48" y="28"/>
                    <a:pt x="42" y="33"/>
                    <a:pt x="36" y="33"/>
                  </a:cubicBezTo>
                  <a:cubicBezTo>
                    <a:pt x="29" y="33"/>
                    <a:pt x="23" y="28"/>
                    <a:pt x="23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3" name="Freeform 25"/>
            <p:cNvSpPr>
              <a:spLocks noEditPoints="1"/>
            </p:cNvSpPr>
            <p:nvPr/>
          </p:nvSpPr>
          <p:spPr bwMode="auto">
            <a:xfrm>
              <a:off x="5738096" y="3229341"/>
              <a:ext cx="425234" cy="461578"/>
            </a:xfrm>
            <a:custGeom>
              <a:avLst/>
              <a:gdLst>
                <a:gd name="T0" fmla="*/ 60 w 74"/>
                <a:gd name="T1" fmla="*/ 51 h 80"/>
                <a:gd name="T2" fmla="*/ 42 w 74"/>
                <a:gd name="T3" fmla="*/ 43 h 80"/>
                <a:gd name="T4" fmla="*/ 33 w 74"/>
                <a:gd name="T5" fmla="*/ 42 h 80"/>
                <a:gd name="T6" fmla="*/ 51 w 74"/>
                <a:gd name="T7" fmla="*/ 21 h 80"/>
                <a:gd name="T8" fmla="*/ 31 w 74"/>
                <a:gd name="T9" fmla="*/ 0 h 80"/>
                <a:gd name="T10" fmla="*/ 10 w 74"/>
                <a:gd name="T11" fmla="*/ 21 h 80"/>
                <a:gd name="T12" fmla="*/ 28 w 74"/>
                <a:gd name="T13" fmla="*/ 42 h 80"/>
                <a:gd name="T14" fmla="*/ 20 w 74"/>
                <a:gd name="T15" fmla="*/ 43 h 80"/>
                <a:gd name="T16" fmla="*/ 2 w 74"/>
                <a:gd name="T17" fmla="*/ 50 h 80"/>
                <a:gd name="T18" fmla="*/ 1 w 74"/>
                <a:gd name="T19" fmla="*/ 56 h 80"/>
                <a:gd name="T20" fmla="*/ 7 w 74"/>
                <a:gd name="T21" fmla="*/ 57 h 80"/>
                <a:gd name="T22" fmla="*/ 21 w 74"/>
                <a:gd name="T23" fmla="*/ 51 h 80"/>
                <a:gd name="T24" fmla="*/ 39 w 74"/>
                <a:gd name="T25" fmla="*/ 51 h 80"/>
                <a:gd name="T26" fmla="*/ 40 w 74"/>
                <a:gd name="T27" fmla="*/ 51 h 80"/>
                <a:gd name="T28" fmla="*/ 56 w 74"/>
                <a:gd name="T29" fmla="*/ 58 h 80"/>
                <a:gd name="T30" fmla="*/ 65 w 74"/>
                <a:gd name="T31" fmla="*/ 66 h 80"/>
                <a:gd name="T32" fmla="*/ 35 w 74"/>
                <a:gd name="T33" fmla="*/ 71 h 80"/>
                <a:gd name="T34" fmla="*/ 31 w 74"/>
                <a:gd name="T35" fmla="*/ 76 h 80"/>
                <a:gd name="T36" fmla="*/ 35 w 74"/>
                <a:gd name="T37" fmla="*/ 80 h 80"/>
                <a:gd name="T38" fmla="*/ 35 w 74"/>
                <a:gd name="T39" fmla="*/ 80 h 80"/>
                <a:gd name="T40" fmla="*/ 74 w 74"/>
                <a:gd name="T41" fmla="*/ 68 h 80"/>
                <a:gd name="T42" fmla="*/ 74 w 74"/>
                <a:gd name="T43" fmla="*/ 65 h 80"/>
                <a:gd name="T44" fmla="*/ 60 w 74"/>
                <a:gd name="T45" fmla="*/ 51 h 80"/>
                <a:gd name="T46" fmla="*/ 18 w 74"/>
                <a:gd name="T47" fmla="*/ 21 h 80"/>
                <a:gd name="T48" fmla="*/ 31 w 74"/>
                <a:gd name="T49" fmla="*/ 9 h 80"/>
                <a:gd name="T50" fmla="*/ 43 w 74"/>
                <a:gd name="T51" fmla="*/ 21 h 80"/>
                <a:gd name="T52" fmla="*/ 31 w 74"/>
                <a:gd name="T53" fmla="*/ 33 h 80"/>
                <a:gd name="T54" fmla="*/ 18 w 74"/>
                <a:gd name="T55" fmla="*/ 2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4" h="80">
                  <a:moveTo>
                    <a:pt x="60" y="51"/>
                  </a:moveTo>
                  <a:cubicBezTo>
                    <a:pt x="53" y="47"/>
                    <a:pt x="45" y="43"/>
                    <a:pt x="42" y="43"/>
                  </a:cubicBezTo>
                  <a:cubicBezTo>
                    <a:pt x="40" y="42"/>
                    <a:pt x="38" y="42"/>
                    <a:pt x="33" y="42"/>
                  </a:cubicBezTo>
                  <a:cubicBezTo>
                    <a:pt x="43" y="40"/>
                    <a:pt x="51" y="32"/>
                    <a:pt x="51" y="21"/>
                  </a:cubicBezTo>
                  <a:cubicBezTo>
                    <a:pt x="51" y="10"/>
                    <a:pt x="42" y="0"/>
                    <a:pt x="31" y="0"/>
                  </a:cubicBezTo>
                  <a:cubicBezTo>
                    <a:pt x="19" y="0"/>
                    <a:pt x="10" y="10"/>
                    <a:pt x="10" y="21"/>
                  </a:cubicBezTo>
                  <a:cubicBezTo>
                    <a:pt x="10" y="32"/>
                    <a:pt x="18" y="41"/>
                    <a:pt x="28" y="42"/>
                  </a:cubicBezTo>
                  <a:cubicBezTo>
                    <a:pt x="26" y="42"/>
                    <a:pt x="23" y="42"/>
                    <a:pt x="20" y="43"/>
                  </a:cubicBezTo>
                  <a:cubicBezTo>
                    <a:pt x="17" y="43"/>
                    <a:pt x="10" y="46"/>
                    <a:pt x="2" y="50"/>
                  </a:cubicBezTo>
                  <a:cubicBezTo>
                    <a:pt x="0" y="51"/>
                    <a:pt x="0" y="54"/>
                    <a:pt x="1" y="56"/>
                  </a:cubicBezTo>
                  <a:cubicBezTo>
                    <a:pt x="2" y="58"/>
                    <a:pt x="5" y="59"/>
                    <a:pt x="7" y="57"/>
                  </a:cubicBezTo>
                  <a:cubicBezTo>
                    <a:pt x="13" y="54"/>
                    <a:pt x="19" y="51"/>
                    <a:pt x="21" y="51"/>
                  </a:cubicBezTo>
                  <a:cubicBezTo>
                    <a:pt x="33" y="49"/>
                    <a:pt x="39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2" y="51"/>
                    <a:pt x="49" y="54"/>
                    <a:pt x="56" y="58"/>
                  </a:cubicBezTo>
                  <a:cubicBezTo>
                    <a:pt x="61" y="61"/>
                    <a:pt x="64" y="64"/>
                    <a:pt x="65" y="66"/>
                  </a:cubicBezTo>
                  <a:cubicBezTo>
                    <a:pt x="62" y="67"/>
                    <a:pt x="55" y="71"/>
                    <a:pt x="35" y="71"/>
                  </a:cubicBezTo>
                  <a:cubicBezTo>
                    <a:pt x="32" y="71"/>
                    <a:pt x="31" y="73"/>
                    <a:pt x="31" y="76"/>
                  </a:cubicBezTo>
                  <a:cubicBezTo>
                    <a:pt x="31" y="78"/>
                    <a:pt x="32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68" y="79"/>
                    <a:pt x="73" y="70"/>
                    <a:pt x="74" y="68"/>
                  </a:cubicBezTo>
                  <a:cubicBezTo>
                    <a:pt x="74" y="67"/>
                    <a:pt x="74" y="66"/>
                    <a:pt x="74" y="65"/>
                  </a:cubicBezTo>
                  <a:cubicBezTo>
                    <a:pt x="72" y="60"/>
                    <a:pt x="68" y="55"/>
                    <a:pt x="60" y="51"/>
                  </a:cubicBezTo>
                  <a:close/>
                  <a:moveTo>
                    <a:pt x="18" y="21"/>
                  </a:moveTo>
                  <a:cubicBezTo>
                    <a:pt x="18" y="14"/>
                    <a:pt x="24" y="9"/>
                    <a:pt x="31" y="9"/>
                  </a:cubicBezTo>
                  <a:cubicBezTo>
                    <a:pt x="37" y="9"/>
                    <a:pt x="43" y="14"/>
                    <a:pt x="43" y="21"/>
                  </a:cubicBezTo>
                  <a:cubicBezTo>
                    <a:pt x="43" y="28"/>
                    <a:pt x="37" y="33"/>
                    <a:pt x="31" y="33"/>
                  </a:cubicBezTo>
                  <a:cubicBezTo>
                    <a:pt x="24" y="33"/>
                    <a:pt x="18" y="28"/>
                    <a:pt x="18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</p:grpSp>
      <p:grpSp>
        <p:nvGrpSpPr>
          <p:cNvPr id="54" name="组合 53"/>
          <p:cNvGrpSpPr/>
          <p:nvPr userDrawn="1"/>
        </p:nvGrpSpPr>
        <p:grpSpPr>
          <a:xfrm>
            <a:off x="6325263" y="2811033"/>
            <a:ext cx="1762683" cy="1762683"/>
            <a:chOff x="7254587" y="2605210"/>
            <a:chExt cx="1376915" cy="1376915"/>
          </a:xfrm>
        </p:grpSpPr>
        <p:sp>
          <p:nvSpPr>
            <p:cNvPr id="55" name="矩形 54"/>
            <p:cNvSpPr/>
            <p:nvPr/>
          </p:nvSpPr>
          <p:spPr>
            <a:xfrm>
              <a:off x="7254587" y="2605210"/>
              <a:ext cx="1376915" cy="1376915"/>
            </a:xfrm>
            <a:prstGeom prst="rect">
              <a:avLst/>
            </a:prstGeom>
            <a:solidFill>
              <a:srgbClr val="A1A1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grpSp>
          <p:nvGrpSpPr>
            <p:cNvPr id="56" name="组合 55"/>
            <p:cNvGrpSpPr/>
            <p:nvPr/>
          </p:nvGrpSpPr>
          <p:grpSpPr>
            <a:xfrm>
              <a:off x="7254587" y="2789568"/>
              <a:ext cx="1090344" cy="1010387"/>
              <a:chOff x="7255368" y="2789568"/>
              <a:chExt cx="1090344" cy="1010387"/>
            </a:xfrm>
          </p:grpSpPr>
          <p:sp>
            <p:nvSpPr>
              <p:cNvPr id="57" name="Freeform 11"/>
              <p:cNvSpPr/>
              <p:nvPr/>
            </p:nvSpPr>
            <p:spPr bwMode="auto">
              <a:xfrm>
                <a:off x="7255368" y="3547358"/>
                <a:ext cx="556074" cy="67239"/>
              </a:xfrm>
              <a:custGeom>
                <a:avLst/>
                <a:gdLst>
                  <a:gd name="T0" fmla="*/ 75 w 75"/>
                  <a:gd name="T1" fmla="*/ 9 h 9"/>
                  <a:gd name="T2" fmla="*/ 75 w 75"/>
                  <a:gd name="T3" fmla="*/ 1 h 9"/>
                  <a:gd name="T4" fmla="*/ 7 w 75"/>
                  <a:gd name="T5" fmla="*/ 1 h 9"/>
                  <a:gd name="T6" fmla="*/ 0 w 75"/>
                  <a:gd name="T7" fmla="*/ 0 h 9"/>
                  <a:gd name="T8" fmla="*/ 0 w 75"/>
                  <a:gd name="T9" fmla="*/ 7 h 9"/>
                  <a:gd name="T10" fmla="*/ 7 w 75"/>
                  <a:gd name="T11" fmla="*/ 9 h 9"/>
                  <a:gd name="T12" fmla="*/ 75 w 75"/>
                  <a:gd name="T1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5" h="9">
                    <a:moveTo>
                      <a:pt x="75" y="9"/>
                    </a:moveTo>
                    <a:cubicBezTo>
                      <a:pt x="75" y="1"/>
                      <a:pt x="75" y="1"/>
                      <a:pt x="75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4" y="1"/>
                      <a:pt x="2" y="1"/>
                      <a:pt x="0" y="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8"/>
                      <a:pt x="4" y="9"/>
                      <a:pt x="7" y="9"/>
                    </a:cubicBezTo>
                    <a:lnTo>
                      <a:pt x="75" y="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Freeform 12"/>
              <p:cNvSpPr>
                <a:spLocks noEditPoints="1"/>
              </p:cNvSpPr>
              <p:nvPr/>
            </p:nvSpPr>
            <p:spPr bwMode="auto">
              <a:xfrm>
                <a:off x="7582471" y="3027628"/>
                <a:ext cx="318017" cy="356178"/>
              </a:xfrm>
              <a:custGeom>
                <a:avLst/>
                <a:gdLst>
                  <a:gd name="T0" fmla="*/ 43 w 43"/>
                  <a:gd name="T1" fmla="*/ 23 h 48"/>
                  <a:gd name="T2" fmla="*/ 43 w 43"/>
                  <a:gd name="T3" fmla="*/ 22 h 48"/>
                  <a:gd name="T4" fmla="*/ 43 w 43"/>
                  <a:gd name="T5" fmla="*/ 22 h 48"/>
                  <a:gd name="T6" fmla="*/ 42 w 43"/>
                  <a:gd name="T7" fmla="*/ 22 h 48"/>
                  <a:gd name="T8" fmla="*/ 42 w 43"/>
                  <a:gd name="T9" fmla="*/ 21 h 48"/>
                  <a:gd name="T10" fmla="*/ 42 w 43"/>
                  <a:gd name="T11" fmla="*/ 21 h 48"/>
                  <a:gd name="T12" fmla="*/ 5 w 43"/>
                  <a:gd name="T13" fmla="*/ 0 h 48"/>
                  <a:gd name="T14" fmla="*/ 5 w 43"/>
                  <a:gd name="T15" fmla="*/ 0 h 48"/>
                  <a:gd name="T16" fmla="*/ 4 w 43"/>
                  <a:gd name="T17" fmla="*/ 0 h 48"/>
                  <a:gd name="T18" fmla="*/ 3 w 43"/>
                  <a:gd name="T19" fmla="*/ 0 h 48"/>
                  <a:gd name="T20" fmla="*/ 3 w 43"/>
                  <a:gd name="T21" fmla="*/ 0 h 48"/>
                  <a:gd name="T22" fmla="*/ 3 w 43"/>
                  <a:gd name="T23" fmla="*/ 0 h 48"/>
                  <a:gd name="T24" fmla="*/ 2 w 43"/>
                  <a:gd name="T25" fmla="*/ 0 h 48"/>
                  <a:gd name="T26" fmla="*/ 1 w 43"/>
                  <a:gd name="T27" fmla="*/ 0 h 48"/>
                  <a:gd name="T28" fmla="*/ 1 w 43"/>
                  <a:gd name="T29" fmla="*/ 1 h 48"/>
                  <a:gd name="T30" fmla="*/ 0 w 43"/>
                  <a:gd name="T31" fmla="*/ 1 h 48"/>
                  <a:gd name="T32" fmla="*/ 0 w 43"/>
                  <a:gd name="T33" fmla="*/ 2 h 48"/>
                  <a:gd name="T34" fmla="*/ 0 w 43"/>
                  <a:gd name="T35" fmla="*/ 2 h 48"/>
                  <a:gd name="T36" fmla="*/ 0 w 43"/>
                  <a:gd name="T37" fmla="*/ 2 h 48"/>
                  <a:gd name="T38" fmla="*/ 0 w 43"/>
                  <a:gd name="T39" fmla="*/ 3 h 48"/>
                  <a:gd name="T40" fmla="*/ 0 w 43"/>
                  <a:gd name="T41" fmla="*/ 3 h 48"/>
                  <a:gd name="T42" fmla="*/ 0 w 43"/>
                  <a:gd name="T43" fmla="*/ 45 h 48"/>
                  <a:gd name="T44" fmla="*/ 0 w 43"/>
                  <a:gd name="T45" fmla="*/ 45 h 48"/>
                  <a:gd name="T46" fmla="*/ 0 w 43"/>
                  <a:gd name="T47" fmla="*/ 46 h 48"/>
                  <a:gd name="T48" fmla="*/ 0 w 43"/>
                  <a:gd name="T49" fmla="*/ 46 h 48"/>
                  <a:gd name="T50" fmla="*/ 0 w 43"/>
                  <a:gd name="T51" fmla="*/ 47 h 48"/>
                  <a:gd name="T52" fmla="*/ 2 w 43"/>
                  <a:gd name="T53" fmla="*/ 48 h 48"/>
                  <a:gd name="T54" fmla="*/ 2 w 43"/>
                  <a:gd name="T55" fmla="*/ 48 h 48"/>
                  <a:gd name="T56" fmla="*/ 3 w 43"/>
                  <a:gd name="T57" fmla="*/ 48 h 48"/>
                  <a:gd name="T58" fmla="*/ 3 w 43"/>
                  <a:gd name="T59" fmla="*/ 48 h 48"/>
                  <a:gd name="T60" fmla="*/ 3 w 43"/>
                  <a:gd name="T61" fmla="*/ 48 h 48"/>
                  <a:gd name="T62" fmla="*/ 3 w 43"/>
                  <a:gd name="T63" fmla="*/ 48 h 48"/>
                  <a:gd name="T64" fmla="*/ 4 w 43"/>
                  <a:gd name="T65" fmla="*/ 48 h 48"/>
                  <a:gd name="T66" fmla="*/ 5 w 43"/>
                  <a:gd name="T67" fmla="*/ 48 h 48"/>
                  <a:gd name="T68" fmla="*/ 5 w 43"/>
                  <a:gd name="T69" fmla="*/ 48 h 48"/>
                  <a:gd name="T70" fmla="*/ 42 w 43"/>
                  <a:gd name="T71" fmla="*/ 27 h 48"/>
                  <a:gd name="T72" fmla="*/ 42 w 43"/>
                  <a:gd name="T73" fmla="*/ 27 h 48"/>
                  <a:gd name="T74" fmla="*/ 43 w 43"/>
                  <a:gd name="T75" fmla="*/ 26 h 48"/>
                  <a:gd name="T76" fmla="*/ 43 w 43"/>
                  <a:gd name="T77" fmla="*/ 26 h 48"/>
                  <a:gd name="T78" fmla="*/ 43 w 43"/>
                  <a:gd name="T79" fmla="*/ 26 h 48"/>
                  <a:gd name="T80" fmla="*/ 43 w 43"/>
                  <a:gd name="T81" fmla="*/ 25 h 48"/>
                  <a:gd name="T82" fmla="*/ 43 w 43"/>
                  <a:gd name="T83" fmla="*/ 25 h 48"/>
                  <a:gd name="T84" fmla="*/ 43 w 43"/>
                  <a:gd name="T85" fmla="*/ 24 h 48"/>
                  <a:gd name="T86" fmla="*/ 43 w 43"/>
                  <a:gd name="T87" fmla="*/ 23 h 48"/>
                  <a:gd name="T88" fmla="*/ 43 w 43"/>
                  <a:gd name="T89" fmla="*/ 23 h 48"/>
                  <a:gd name="T90" fmla="*/ 7 w 43"/>
                  <a:gd name="T91" fmla="*/ 39 h 48"/>
                  <a:gd name="T92" fmla="*/ 7 w 43"/>
                  <a:gd name="T93" fmla="*/ 9 h 48"/>
                  <a:gd name="T94" fmla="*/ 33 w 43"/>
                  <a:gd name="T95" fmla="*/ 24 h 48"/>
                  <a:gd name="T96" fmla="*/ 7 w 43"/>
                  <a:gd name="T97" fmla="*/ 39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3" h="48">
                    <a:moveTo>
                      <a:pt x="43" y="23"/>
                    </a:moveTo>
                    <a:cubicBezTo>
                      <a:pt x="43" y="23"/>
                      <a:pt x="43" y="22"/>
                      <a:pt x="43" y="22"/>
                    </a:cubicBezTo>
                    <a:cubicBezTo>
                      <a:pt x="43" y="22"/>
                      <a:pt x="43" y="22"/>
                      <a:pt x="43" y="22"/>
                    </a:cubicBezTo>
                    <a:cubicBezTo>
                      <a:pt x="43" y="22"/>
                      <a:pt x="43" y="22"/>
                      <a:pt x="42" y="22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6"/>
                      <a:pt x="0" y="46"/>
                      <a:pt x="0" y="47"/>
                    </a:cubicBezTo>
                    <a:cubicBezTo>
                      <a:pt x="1" y="47"/>
                      <a:pt x="1" y="48"/>
                      <a:pt x="2" y="48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2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2" y="27"/>
                      <a:pt x="43" y="26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6"/>
                      <a:pt x="43" y="26"/>
                      <a:pt x="43" y="25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3" y="24"/>
                      <a:pt x="43" y="24"/>
                      <a:pt x="43" y="23"/>
                    </a:cubicBezTo>
                    <a:cubicBezTo>
                      <a:pt x="43" y="23"/>
                      <a:pt x="43" y="23"/>
                      <a:pt x="43" y="23"/>
                    </a:cubicBezTo>
                    <a:close/>
                    <a:moveTo>
                      <a:pt x="7" y="39"/>
                    </a:moveTo>
                    <a:cubicBezTo>
                      <a:pt x="7" y="9"/>
                      <a:pt x="7" y="9"/>
                      <a:pt x="7" y="9"/>
                    </a:cubicBezTo>
                    <a:cubicBezTo>
                      <a:pt x="33" y="24"/>
                      <a:pt x="33" y="24"/>
                      <a:pt x="33" y="24"/>
                    </a:cubicBezTo>
                    <a:lnTo>
                      <a:pt x="7" y="3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 13"/>
              <p:cNvSpPr/>
              <p:nvPr/>
            </p:nvSpPr>
            <p:spPr bwMode="auto">
              <a:xfrm>
                <a:off x="7277177" y="3739985"/>
                <a:ext cx="928609" cy="59970"/>
              </a:xfrm>
              <a:custGeom>
                <a:avLst/>
                <a:gdLst>
                  <a:gd name="T0" fmla="*/ 121 w 125"/>
                  <a:gd name="T1" fmla="*/ 0 h 8"/>
                  <a:gd name="T2" fmla="*/ 4 w 125"/>
                  <a:gd name="T3" fmla="*/ 0 h 8"/>
                  <a:gd name="T4" fmla="*/ 0 w 125"/>
                  <a:gd name="T5" fmla="*/ 4 h 8"/>
                  <a:gd name="T6" fmla="*/ 4 w 125"/>
                  <a:gd name="T7" fmla="*/ 8 h 8"/>
                  <a:gd name="T8" fmla="*/ 121 w 125"/>
                  <a:gd name="T9" fmla="*/ 8 h 8"/>
                  <a:gd name="T10" fmla="*/ 125 w 125"/>
                  <a:gd name="T11" fmla="*/ 4 h 8"/>
                  <a:gd name="T12" fmla="*/ 121 w 125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5" h="8">
                    <a:moveTo>
                      <a:pt x="121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1" y="8"/>
                      <a:pt x="121" y="8"/>
                      <a:pt x="121" y="8"/>
                    </a:cubicBezTo>
                    <a:cubicBezTo>
                      <a:pt x="123" y="8"/>
                      <a:pt x="125" y="6"/>
                      <a:pt x="125" y="4"/>
                    </a:cubicBezTo>
                    <a:cubicBezTo>
                      <a:pt x="125" y="2"/>
                      <a:pt x="123" y="0"/>
                      <a:pt x="12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Freeform 14"/>
              <p:cNvSpPr/>
              <p:nvPr/>
            </p:nvSpPr>
            <p:spPr bwMode="auto">
              <a:xfrm>
                <a:off x="7864145" y="3501926"/>
                <a:ext cx="154466" cy="163552"/>
              </a:xfrm>
              <a:custGeom>
                <a:avLst/>
                <a:gdLst>
                  <a:gd name="T0" fmla="*/ 28 w 85"/>
                  <a:gd name="T1" fmla="*/ 0 h 90"/>
                  <a:gd name="T2" fmla="*/ 28 w 85"/>
                  <a:gd name="T3" fmla="*/ 29 h 90"/>
                  <a:gd name="T4" fmla="*/ 0 w 85"/>
                  <a:gd name="T5" fmla="*/ 29 h 90"/>
                  <a:gd name="T6" fmla="*/ 0 w 85"/>
                  <a:gd name="T7" fmla="*/ 29 h 90"/>
                  <a:gd name="T8" fmla="*/ 0 w 85"/>
                  <a:gd name="T9" fmla="*/ 58 h 90"/>
                  <a:gd name="T10" fmla="*/ 0 w 85"/>
                  <a:gd name="T11" fmla="*/ 62 h 90"/>
                  <a:gd name="T12" fmla="*/ 28 w 85"/>
                  <a:gd name="T13" fmla="*/ 62 h 90"/>
                  <a:gd name="T14" fmla="*/ 28 w 85"/>
                  <a:gd name="T15" fmla="*/ 90 h 90"/>
                  <a:gd name="T16" fmla="*/ 57 w 85"/>
                  <a:gd name="T17" fmla="*/ 90 h 90"/>
                  <a:gd name="T18" fmla="*/ 57 w 85"/>
                  <a:gd name="T19" fmla="*/ 62 h 90"/>
                  <a:gd name="T20" fmla="*/ 85 w 85"/>
                  <a:gd name="T21" fmla="*/ 62 h 90"/>
                  <a:gd name="T22" fmla="*/ 85 w 85"/>
                  <a:gd name="T23" fmla="*/ 58 h 90"/>
                  <a:gd name="T24" fmla="*/ 85 w 85"/>
                  <a:gd name="T25" fmla="*/ 29 h 90"/>
                  <a:gd name="T26" fmla="*/ 85 w 85"/>
                  <a:gd name="T27" fmla="*/ 29 h 90"/>
                  <a:gd name="T28" fmla="*/ 57 w 85"/>
                  <a:gd name="T29" fmla="*/ 29 h 90"/>
                  <a:gd name="T30" fmla="*/ 57 w 85"/>
                  <a:gd name="T31" fmla="*/ 0 h 90"/>
                  <a:gd name="T32" fmla="*/ 28 w 85"/>
                  <a:gd name="T33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5" h="90">
                    <a:moveTo>
                      <a:pt x="28" y="0"/>
                    </a:moveTo>
                    <a:lnTo>
                      <a:pt x="28" y="29"/>
                    </a:lnTo>
                    <a:lnTo>
                      <a:pt x="0" y="29"/>
                    </a:lnTo>
                    <a:lnTo>
                      <a:pt x="0" y="29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28" y="62"/>
                    </a:lnTo>
                    <a:lnTo>
                      <a:pt x="28" y="90"/>
                    </a:lnTo>
                    <a:lnTo>
                      <a:pt x="57" y="90"/>
                    </a:lnTo>
                    <a:lnTo>
                      <a:pt x="57" y="62"/>
                    </a:lnTo>
                    <a:lnTo>
                      <a:pt x="85" y="62"/>
                    </a:lnTo>
                    <a:lnTo>
                      <a:pt x="85" y="58"/>
                    </a:lnTo>
                    <a:lnTo>
                      <a:pt x="85" y="29"/>
                    </a:lnTo>
                    <a:lnTo>
                      <a:pt x="85" y="29"/>
                    </a:lnTo>
                    <a:lnTo>
                      <a:pt x="57" y="29"/>
                    </a:lnTo>
                    <a:lnTo>
                      <a:pt x="57" y="0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Freeform 15"/>
              <p:cNvSpPr/>
              <p:nvPr/>
            </p:nvSpPr>
            <p:spPr bwMode="auto">
              <a:xfrm>
                <a:off x="7255368" y="2789568"/>
                <a:ext cx="1090344" cy="825027"/>
              </a:xfrm>
              <a:custGeom>
                <a:avLst/>
                <a:gdLst>
                  <a:gd name="T0" fmla="*/ 125 w 147"/>
                  <a:gd name="T1" fmla="*/ 0 h 111"/>
                  <a:gd name="T2" fmla="*/ 125 w 147"/>
                  <a:gd name="T3" fmla="*/ 0 h 111"/>
                  <a:gd name="T4" fmla="*/ 7 w 147"/>
                  <a:gd name="T5" fmla="*/ 0 h 111"/>
                  <a:gd name="T6" fmla="*/ 0 w 147"/>
                  <a:gd name="T7" fmla="*/ 1 h 111"/>
                  <a:gd name="T8" fmla="*/ 0 w 147"/>
                  <a:gd name="T9" fmla="*/ 9 h 111"/>
                  <a:gd name="T10" fmla="*/ 7 w 147"/>
                  <a:gd name="T11" fmla="*/ 7 h 111"/>
                  <a:gd name="T12" fmla="*/ 124 w 147"/>
                  <a:gd name="T13" fmla="*/ 7 h 111"/>
                  <a:gd name="T14" fmla="*/ 140 w 147"/>
                  <a:gd name="T15" fmla="*/ 23 h 111"/>
                  <a:gd name="T16" fmla="*/ 140 w 147"/>
                  <a:gd name="T17" fmla="*/ 88 h 111"/>
                  <a:gd name="T18" fmla="*/ 124 w 147"/>
                  <a:gd name="T19" fmla="*/ 103 h 111"/>
                  <a:gd name="T20" fmla="*/ 111 w 147"/>
                  <a:gd name="T21" fmla="*/ 103 h 111"/>
                  <a:gd name="T22" fmla="*/ 111 w 147"/>
                  <a:gd name="T23" fmla="*/ 111 h 111"/>
                  <a:gd name="T24" fmla="*/ 125 w 147"/>
                  <a:gd name="T25" fmla="*/ 111 h 111"/>
                  <a:gd name="T26" fmla="*/ 125 w 147"/>
                  <a:gd name="T27" fmla="*/ 110 h 111"/>
                  <a:gd name="T28" fmla="*/ 147 w 147"/>
                  <a:gd name="T29" fmla="*/ 88 h 111"/>
                  <a:gd name="T30" fmla="*/ 147 w 147"/>
                  <a:gd name="T31" fmla="*/ 23 h 111"/>
                  <a:gd name="T32" fmla="*/ 125 w 147"/>
                  <a:gd name="T3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7" h="111">
                    <a:moveTo>
                      <a:pt x="125" y="0"/>
                    </a:moveTo>
                    <a:cubicBezTo>
                      <a:pt x="125" y="0"/>
                      <a:pt x="125" y="0"/>
                      <a:pt x="125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4" y="0"/>
                      <a:pt x="2" y="1"/>
                      <a:pt x="0" y="1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" y="8"/>
                      <a:pt x="4" y="7"/>
                      <a:pt x="7" y="7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33" y="7"/>
                      <a:pt x="140" y="14"/>
                      <a:pt x="140" y="23"/>
                    </a:cubicBezTo>
                    <a:cubicBezTo>
                      <a:pt x="140" y="88"/>
                      <a:pt x="140" y="88"/>
                      <a:pt x="140" y="88"/>
                    </a:cubicBezTo>
                    <a:cubicBezTo>
                      <a:pt x="140" y="96"/>
                      <a:pt x="133" y="103"/>
                      <a:pt x="124" y="103"/>
                    </a:cubicBezTo>
                    <a:cubicBezTo>
                      <a:pt x="111" y="103"/>
                      <a:pt x="111" y="103"/>
                      <a:pt x="111" y="103"/>
                    </a:cubicBezTo>
                    <a:cubicBezTo>
                      <a:pt x="111" y="111"/>
                      <a:pt x="111" y="111"/>
                      <a:pt x="111" y="111"/>
                    </a:cubicBezTo>
                    <a:cubicBezTo>
                      <a:pt x="125" y="111"/>
                      <a:pt x="125" y="111"/>
                      <a:pt x="125" y="111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37" y="110"/>
                      <a:pt x="147" y="100"/>
                      <a:pt x="147" y="88"/>
                    </a:cubicBezTo>
                    <a:cubicBezTo>
                      <a:pt x="147" y="23"/>
                      <a:pt x="147" y="23"/>
                      <a:pt x="147" y="23"/>
                    </a:cubicBezTo>
                    <a:cubicBezTo>
                      <a:pt x="147" y="11"/>
                      <a:pt x="137" y="1"/>
                      <a:pt x="12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2" name="组合 61"/>
          <p:cNvGrpSpPr/>
          <p:nvPr userDrawn="1"/>
        </p:nvGrpSpPr>
        <p:grpSpPr>
          <a:xfrm>
            <a:off x="756325" y="2805322"/>
            <a:ext cx="1762686" cy="1762683"/>
            <a:chOff x="1507108" y="2100648"/>
            <a:chExt cx="1627763" cy="1627761"/>
          </a:xfrm>
        </p:grpSpPr>
        <p:sp>
          <p:nvSpPr>
            <p:cNvPr id="63" name="矩形 62"/>
            <p:cNvSpPr/>
            <p:nvPr/>
          </p:nvSpPr>
          <p:spPr>
            <a:xfrm>
              <a:off x="1507110" y="2100648"/>
              <a:ext cx="1627761" cy="1627761"/>
            </a:xfrm>
            <a:prstGeom prst="rect">
              <a:avLst/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grpSp>
          <p:nvGrpSpPr>
            <p:cNvPr id="64" name="组合 63"/>
            <p:cNvGrpSpPr/>
            <p:nvPr/>
          </p:nvGrpSpPr>
          <p:grpSpPr>
            <a:xfrm>
              <a:off x="1507108" y="2201164"/>
              <a:ext cx="1384865" cy="1466956"/>
              <a:chOff x="1550988" y="1668463"/>
              <a:chExt cx="615950" cy="652462"/>
            </a:xfrm>
          </p:grpSpPr>
          <p:sp>
            <p:nvSpPr>
              <p:cNvPr id="65" name="Freeform 5"/>
              <p:cNvSpPr/>
              <p:nvPr/>
            </p:nvSpPr>
            <p:spPr bwMode="auto">
              <a:xfrm>
                <a:off x="1550988" y="1962150"/>
                <a:ext cx="585788" cy="358775"/>
              </a:xfrm>
              <a:custGeom>
                <a:avLst/>
                <a:gdLst>
                  <a:gd name="T0" fmla="*/ 62 w 153"/>
                  <a:gd name="T1" fmla="*/ 94 h 94"/>
                  <a:gd name="T2" fmla="*/ 69 w 153"/>
                  <a:gd name="T3" fmla="*/ 91 h 94"/>
                  <a:gd name="T4" fmla="*/ 139 w 153"/>
                  <a:gd name="T5" fmla="*/ 22 h 94"/>
                  <a:gd name="T6" fmla="*/ 153 w 153"/>
                  <a:gd name="T7" fmla="*/ 0 h 94"/>
                  <a:gd name="T8" fmla="*/ 145 w 153"/>
                  <a:gd name="T9" fmla="*/ 0 h 94"/>
                  <a:gd name="T10" fmla="*/ 134 w 153"/>
                  <a:gd name="T11" fmla="*/ 16 h 94"/>
                  <a:gd name="T12" fmla="*/ 64 w 153"/>
                  <a:gd name="T13" fmla="*/ 86 h 94"/>
                  <a:gd name="T14" fmla="*/ 62 w 153"/>
                  <a:gd name="T15" fmla="*/ 87 h 94"/>
                  <a:gd name="T16" fmla="*/ 59 w 153"/>
                  <a:gd name="T17" fmla="*/ 86 h 94"/>
                  <a:gd name="T18" fmla="*/ 0 w 153"/>
                  <a:gd name="T19" fmla="*/ 27 h 94"/>
                  <a:gd name="T20" fmla="*/ 0 w 153"/>
                  <a:gd name="T21" fmla="*/ 36 h 94"/>
                  <a:gd name="T22" fmla="*/ 54 w 153"/>
                  <a:gd name="T23" fmla="*/ 91 h 94"/>
                  <a:gd name="T24" fmla="*/ 62 w 153"/>
                  <a:gd name="T25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3" h="94">
                    <a:moveTo>
                      <a:pt x="62" y="94"/>
                    </a:moveTo>
                    <a:cubicBezTo>
                      <a:pt x="64" y="94"/>
                      <a:pt x="67" y="93"/>
                      <a:pt x="69" y="91"/>
                    </a:cubicBezTo>
                    <a:cubicBezTo>
                      <a:pt x="139" y="22"/>
                      <a:pt x="139" y="22"/>
                      <a:pt x="139" y="22"/>
                    </a:cubicBezTo>
                    <a:cubicBezTo>
                      <a:pt x="145" y="15"/>
                      <a:pt x="150" y="8"/>
                      <a:pt x="153" y="0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42" y="6"/>
                      <a:pt x="139" y="12"/>
                      <a:pt x="134" y="16"/>
                    </a:cubicBezTo>
                    <a:cubicBezTo>
                      <a:pt x="64" y="86"/>
                      <a:pt x="64" y="86"/>
                      <a:pt x="64" y="86"/>
                    </a:cubicBezTo>
                    <a:cubicBezTo>
                      <a:pt x="63" y="87"/>
                      <a:pt x="62" y="87"/>
                      <a:pt x="62" y="87"/>
                    </a:cubicBezTo>
                    <a:cubicBezTo>
                      <a:pt x="61" y="87"/>
                      <a:pt x="60" y="87"/>
                      <a:pt x="59" y="8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54" y="91"/>
                      <a:pt x="54" y="91"/>
                      <a:pt x="54" y="91"/>
                    </a:cubicBezTo>
                    <a:cubicBezTo>
                      <a:pt x="56" y="93"/>
                      <a:pt x="59" y="94"/>
                      <a:pt x="62" y="9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6"/>
              <p:cNvSpPr/>
              <p:nvPr/>
            </p:nvSpPr>
            <p:spPr bwMode="auto">
              <a:xfrm>
                <a:off x="1550988" y="1668463"/>
                <a:ext cx="588963" cy="160337"/>
              </a:xfrm>
              <a:custGeom>
                <a:avLst/>
                <a:gdLst>
                  <a:gd name="T0" fmla="*/ 139 w 154"/>
                  <a:gd name="T1" fmla="*/ 18 h 42"/>
                  <a:gd name="T2" fmla="*/ 114 w 154"/>
                  <a:gd name="T3" fmla="*/ 3 h 42"/>
                  <a:gd name="T4" fmla="*/ 83 w 154"/>
                  <a:gd name="T5" fmla="*/ 3 h 42"/>
                  <a:gd name="T6" fmla="*/ 62 w 154"/>
                  <a:gd name="T7" fmla="*/ 13 h 42"/>
                  <a:gd name="T8" fmla="*/ 40 w 154"/>
                  <a:gd name="T9" fmla="*/ 3 h 42"/>
                  <a:gd name="T10" fmla="*/ 9 w 154"/>
                  <a:gd name="T11" fmla="*/ 3 h 42"/>
                  <a:gd name="T12" fmla="*/ 0 w 154"/>
                  <a:gd name="T13" fmla="*/ 7 h 42"/>
                  <a:gd name="T14" fmla="*/ 0 w 154"/>
                  <a:gd name="T15" fmla="*/ 15 h 42"/>
                  <a:gd name="T16" fmla="*/ 11 w 154"/>
                  <a:gd name="T17" fmla="*/ 10 h 42"/>
                  <a:gd name="T18" fmla="*/ 26 w 154"/>
                  <a:gd name="T19" fmla="*/ 8 h 42"/>
                  <a:gd name="T20" fmla="*/ 38 w 154"/>
                  <a:gd name="T21" fmla="*/ 9 h 42"/>
                  <a:gd name="T22" fmla="*/ 59 w 154"/>
                  <a:gd name="T23" fmla="*/ 21 h 42"/>
                  <a:gd name="T24" fmla="*/ 62 w 154"/>
                  <a:gd name="T25" fmla="*/ 22 h 42"/>
                  <a:gd name="T26" fmla="*/ 64 w 154"/>
                  <a:gd name="T27" fmla="*/ 21 h 42"/>
                  <a:gd name="T28" fmla="*/ 85 w 154"/>
                  <a:gd name="T29" fmla="*/ 9 h 42"/>
                  <a:gd name="T30" fmla="*/ 112 w 154"/>
                  <a:gd name="T31" fmla="*/ 10 h 42"/>
                  <a:gd name="T32" fmla="*/ 134 w 154"/>
                  <a:gd name="T33" fmla="*/ 23 h 42"/>
                  <a:gd name="T34" fmla="*/ 146 w 154"/>
                  <a:gd name="T35" fmla="*/ 42 h 42"/>
                  <a:gd name="T36" fmla="*/ 154 w 154"/>
                  <a:gd name="T37" fmla="*/ 42 h 42"/>
                  <a:gd name="T38" fmla="*/ 153 w 154"/>
                  <a:gd name="T39" fmla="*/ 42 h 42"/>
                  <a:gd name="T40" fmla="*/ 139 w 154"/>
                  <a:gd name="T41" fmla="*/ 18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4" h="42">
                    <a:moveTo>
                      <a:pt x="139" y="18"/>
                    </a:moveTo>
                    <a:cubicBezTo>
                      <a:pt x="132" y="11"/>
                      <a:pt x="123" y="6"/>
                      <a:pt x="114" y="3"/>
                    </a:cubicBezTo>
                    <a:cubicBezTo>
                      <a:pt x="104" y="0"/>
                      <a:pt x="94" y="0"/>
                      <a:pt x="83" y="3"/>
                    </a:cubicBezTo>
                    <a:cubicBezTo>
                      <a:pt x="76" y="5"/>
                      <a:pt x="68" y="8"/>
                      <a:pt x="62" y="13"/>
                    </a:cubicBezTo>
                    <a:cubicBezTo>
                      <a:pt x="55" y="8"/>
                      <a:pt x="48" y="5"/>
                      <a:pt x="40" y="3"/>
                    </a:cubicBezTo>
                    <a:cubicBezTo>
                      <a:pt x="29" y="0"/>
                      <a:pt x="19" y="0"/>
                      <a:pt x="9" y="3"/>
                    </a:cubicBezTo>
                    <a:cubicBezTo>
                      <a:pt x="6" y="4"/>
                      <a:pt x="3" y="6"/>
                      <a:pt x="0" y="7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3"/>
                      <a:pt x="7" y="11"/>
                      <a:pt x="11" y="10"/>
                    </a:cubicBezTo>
                    <a:cubicBezTo>
                      <a:pt x="16" y="9"/>
                      <a:pt x="21" y="8"/>
                      <a:pt x="26" y="8"/>
                    </a:cubicBezTo>
                    <a:cubicBezTo>
                      <a:pt x="30" y="8"/>
                      <a:pt x="34" y="8"/>
                      <a:pt x="38" y="9"/>
                    </a:cubicBezTo>
                    <a:cubicBezTo>
                      <a:pt x="46" y="11"/>
                      <a:pt x="53" y="15"/>
                      <a:pt x="59" y="21"/>
                    </a:cubicBezTo>
                    <a:cubicBezTo>
                      <a:pt x="62" y="22"/>
                      <a:pt x="62" y="22"/>
                      <a:pt x="62" y="22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70" y="15"/>
                      <a:pt x="78" y="11"/>
                      <a:pt x="85" y="9"/>
                    </a:cubicBezTo>
                    <a:cubicBezTo>
                      <a:pt x="94" y="7"/>
                      <a:pt x="103" y="7"/>
                      <a:pt x="112" y="10"/>
                    </a:cubicBezTo>
                    <a:cubicBezTo>
                      <a:pt x="120" y="13"/>
                      <a:pt x="128" y="17"/>
                      <a:pt x="134" y="23"/>
                    </a:cubicBezTo>
                    <a:cubicBezTo>
                      <a:pt x="139" y="28"/>
                      <a:pt x="143" y="35"/>
                      <a:pt x="146" y="42"/>
                    </a:cubicBezTo>
                    <a:cubicBezTo>
                      <a:pt x="154" y="42"/>
                      <a:pt x="154" y="42"/>
                      <a:pt x="154" y="42"/>
                    </a:cubicBezTo>
                    <a:cubicBezTo>
                      <a:pt x="153" y="42"/>
                      <a:pt x="153" y="42"/>
                      <a:pt x="153" y="42"/>
                    </a:cubicBezTo>
                    <a:cubicBezTo>
                      <a:pt x="150" y="33"/>
                      <a:pt x="145" y="25"/>
                      <a:pt x="139" y="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7"/>
              <p:cNvSpPr/>
              <p:nvPr/>
            </p:nvSpPr>
            <p:spPr bwMode="auto">
              <a:xfrm>
                <a:off x="2087563" y="1855788"/>
                <a:ext cx="79375" cy="79375"/>
              </a:xfrm>
              <a:custGeom>
                <a:avLst/>
                <a:gdLst>
                  <a:gd name="T0" fmla="*/ 50 w 50"/>
                  <a:gd name="T1" fmla="*/ 17 h 50"/>
                  <a:gd name="T2" fmla="*/ 33 w 50"/>
                  <a:gd name="T3" fmla="*/ 17 h 50"/>
                  <a:gd name="T4" fmla="*/ 33 w 50"/>
                  <a:gd name="T5" fmla="*/ 0 h 50"/>
                  <a:gd name="T6" fmla="*/ 16 w 50"/>
                  <a:gd name="T7" fmla="*/ 0 h 50"/>
                  <a:gd name="T8" fmla="*/ 16 w 50"/>
                  <a:gd name="T9" fmla="*/ 17 h 50"/>
                  <a:gd name="T10" fmla="*/ 0 w 50"/>
                  <a:gd name="T11" fmla="*/ 17 h 50"/>
                  <a:gd name="T12" fmla="*/ 0 w 50"/>
                  <a:gd name="T13" fmla="*/ 33 h 50"/>
                  <a:gd name="T14" fmla="*/ 16 w 50"/>
                  <a:gd name="T15" fmla="*/ 33 h 50"/>
                  <a:gd name="T16" fmla="*/ 16 w 50"/>
                  <a:gd name="T17" fmla="*/ 50 h 50"/>
                  <a:gd name="T18" fmla="*/ 33 w 50"/>
                  <a:gd name="T19" fmla="*/ 50 h 50"/>
                  <a:gd name="T20" fmla="*/ 33 w 50"/>
                  <a:gd name="T21" fmla="*/ 33 h 50"/>
                  <a:gd name="T22" fmla="*/ 50 w 50"/>
                  <a:gd name="T23" fmla="*/ 33 h 50"/>
                  <a:gd name="T24" fmla="*/ 50 w 50"/>
                  <a:gd name="T25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50">
                    <a:moveTo>
                      <a:pt x="50" y="17"/>
                    </a:moveTo>
                    <a:lnTo>
                      <a:pt x="33" y="17"/>
                    </a:lnTo>
                    <a:lnTo>
                      <a:pt x="33" y="0"/>
                    </a:lnTo>
                    <a:lnTo>
                      <a:pt x="16" y="0"/>
                    </a:lnTo>
                    <a:lnTo>
                      <a:pt x="16" y="17"/>
                    </a:lnTo>
                    <a:lnTo>
                      <a:pt x="0" y="17"/>
                    </a:lnTo>
                    <a:lnTo>
                      <a:pt x="0" y="33"/>
                    </a:lnTo>
                    <a:lnTo>
                      <a:pt x="16" y="33"/>
                    </a:lnTo>
                    <a:lnTo>
                      <a:pt x="16" y="50"/>
                    </a:lnTo>
                    <a:lnTo>
                      <a:pt x="33" y="50"/>
                    </a:lnTo>
                    <a:lnTo>
                      <a:pt x="33" y="33"/>
                    </a:lnTo>
                    <a:lnTo>
                      <a:pt x="50" y="33"/>
                    </a:lnTo>
                    <a:lnTo>
                      <a:pt x="50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8" name="组合 67"/>
          <p:cNvGrpSpPr/>
          <p:nvPr userDrawn="1"/>
        </p:nvGrpSpPr>
        <p:grpSpPr>
          <a:xfrm>
            <a:off x="3540794" y="2805322"/>
            <a:ext cx="1762686" cy="1762683"/>
            <a:chOff x="4146320" y="2100648"/>
            <a:chExt cx="1627764" cy="1627761"/>
          </a:xfrm>
        </p:grpSpPr>
        <p:sp>
          <p:nvSpPr>
            <p:cNvPr id="69" name="矩形 68"/>
            <p:cNvSpPr/>
            <p:nvPr/>
          </p:nvSpPr>
          <p:spPr>
            <a:xfrm>
              <a:off x="4146323" y="2100648"/>
              <a:ext cx="1627761" cy="1627761"/>
            </a:xfrm>
            <a:prstGeom prst="rect">
              <a:avLst/>
            </a:prstGeom>
            <a:solidFill>
              <a:srgbClr val="1737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pic>
          <p:nvPicPr>
            <p:cNvPr id="70" name="图片 6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46320" y="2201164"/>
              <a:ext cx="1472700" cy="1527245"/>
            </a:xfrm>
            <a:prstGeom prst="rect">
              <a:avLst/>
            </a:prstGeom>
          </p:spPr>
        </p:pic>
      </p:grpSp>
      <p:sp>
        <p:nvSpPr>
          <p:cNvPr id="75" name="文本占位符 11"/>
          <p:cNvSpPr>
            <a:spLocks noGrp="1"/>
          </p:cNvSpPr>
          <p:nvPr>
            <p:ph type="body" sz="quarter" idx="16" hasCustomPrompt="1"/>
          </p:nvPr>
        </p:nvSpPr>
        <p:spPr>
          <a:xfrm>
            <a:off x="888171" y="4808771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6" name="文本占位符 11"/>
          <p:cNvSpPr>
            <a:spLocks noGrp="1"/>
          </p:cNvSpPr>
          <p:nvPr>
            <p:ph type="body" sz="quarter" idx="17" hasCustomPrompt="1"/>
          </p:nvPr>
        </p:nvSpPr>
        <p:spPr>
          <a:xfrm>
            <a:off x="3677711" y="4808771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7" name="文本占位符 11"/>
          <p:cNvSpPr>
            <a:spLocks noGrp="1"/>
          </p:cNvSpPr>
          <p:nvPr>
            <p:ph type="body" sz="quarter" idx="18" hasCustomPrompt="1"/>
          </p:nvPr>
        </p:nvSpPr>
        <p:spPr>
          <a:xfrm>
            <a:off x="6453376" y="4808771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8" name="文本占位符 11"/>
          <p:cNvSpPr>
            <a:spLocks noGrp="1"/>
          </p:cNvSpPr>
          <p:nvPr>
            <p:ph type="body" sz="quarter" idx="19" hasCustomPrompt="1"/>
          </p:nvPr>
        </p:nvSpPr>
        <p:spPr>
          <a:xfrm>
            <a:off x="9242916" y="4819034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38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10427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</a:t>
            </a:r>
            <a:endParaRPr lang="en-US" altLang="zh-CN" dirty="0"/>
          </a:p>
          <a:p>
            <a:r>
              <a:rPr lang="zh-CN" altLang="en-US" dirty="0"/>
              <a:t> </a:t>
            </a:r>
          </a:p>
        </p:txBody>
      </p:sp>
      <p:sp>
        <p:nvSpPr>
          <p:cNvPr id="39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1764000"/>
            <a:ext cx="10210270" cy="889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图片 2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6000" y="5759999"/>
            <a:ext cx="1620000" cy="526887"/>
          </a:xfrm>
          <a:prstGeom prst="rect">
            <a:avLst/>
          </a:prstGeom>
        </p:spPr>
      </p:pic>
      <p:grpSp>
        <p:nvGrpSpPr>
          <p:cNvPr id="30" name="组合 29"/>
          <p:cNvGrpSpPr>
            <a:grpSpLocks noChangeAspect="1"/>
          </p:cNvGrpSpPr>
          <p:nvPr userDrawn="1"/>
        </p:nvGrpSpPr>
        <p:grpSpPr>
          <a:xfrm>
            <a:off x="4773100" y="2458868"/>
            <a:ext cx="2645800" cy="1440000"/>
            <a:chOff x="-1906587" y="2205038"/>
            <a:chExt cx="3138488" cy="1708149"/>
          </a:xfrm>
          <a:solidFill>
            <a:srgbClr val="005BAC"/>
          </a:solidFill>
        </p:grpSpPr>
        <p:sp>
          <p:nvSpPr>
            <p:cNvPr id="58" name="Freeform 5"/>
            <p:cNvSpPr/>
            <p:nvPr/>
          </p:nvSpPr>
          <p:spPr bwMode="auto">
            <a:xfrm>
              <a:off x="-474662" y="2205038"/>
              <a:ext cx="1706563" cy="1708149"/>
            </a:xfrm>
            <a:custGeom>
              <a:avLst/>
              <a:gdLst>
                <a:gd name="T0" fmla="*/ 907 w 907"/>
                <a:gd name="T1" fmla="*/ 907 h 907"/>
                <a:gd name="T2" fmla="*/ 0 w 907"/>
                <a:gd name="T3" fmla="*/ 907 h 907"/>
                <a:gd name="T4" fmla="*/ 0 w 907"/>
                <a:gd name="T5" fmla="*/ 794 h 907"/>
                <a:gd name="T6" fmla="*/ 14 w 907"/>
                <a:gd name="T7" fmla="*/ 794 h 907"/>
                <a:gd name="T8" fmla="*/ 14 w 907"/>
                <a:gd name="T9" fmla="*/ 894 h 907"/>
                <a:gd name="T10" fmla="*/ 893 w 907"/>
                <a:gd name="T11" fmla="*/ 894 h 907"/>
                <a:gd name="T12" fmla="*/ 893 w 907"/>
                <a:gd name="T13" fmla="*/ 67 h 907"/>
                <a:gd name="T14" fmla="*/ 840 w 907"/>
                <a:gd name="T15" fmla="*/ 14 h 907"/>
                <a:gd name="T16" fmla="*/ 14 w 907"/>
                <a:gd name="T17" fmla="*/ 14 h 907"/>
                <a:gd name="T18" fmla="*/ 14 w 907"/>
                <a:gd name="T19" fmla="*/ 114 h 907"/>
                <a:gd name="T20" fmla="*/ 0 w 907"/>
                <a:gd name="T21" fmla="*/ 114 h 907"/>
                <a:gd name="T22" fmla="*/ 0 w 907"/>
                <a:gd name="T23" fmla="*/ 0 h 907"/>
                <a:gd name="T24" fmla="*/ 840 w 907"/>
                <a:gd name="T25" fmla="*/ 0 h 907"/>
                <a:gd name="T26" fmla="*/ 907 w 907"/>
                <a:gd name="T27" fmla="*/ 67 h 907"/>
                <a:gd name="T28" fmla="*/ 907 w 907"/>
                <a:gd name="T29" fmla="*/ 907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07" h="907">
                  <a:moveTo>
                    <a:pt x="907" y="907"/>
                  </a:moveTo>
                  <a:cubicBezTo>
                    <a:pt x="0" y="907"/>
                    <a:pt x="0" y="907"/>
                    <a:pt x="0" y="907"/>
                  </a:cubicBezTo>
                  <a:cubicBezTo>
                    <a:pt x="0" y="794"/>
                    <a:pt x="0" y="794"/>
                    <a:pt x="0" y="794"/>
                  </a:cubicBezTo>
                  <a:cubicBezTo>
                    <a:pt x="14" y="794"/>
                    <a:pt x="14" y="794"/>
                    <a:pt x="14" y="794"/>
                  </a:cubicBezTo>
                  <a:cubicBezTo>
                    <a:pt x="14" y="894"/>
                    <a:pt x="14" y="894"/>
                    <a:pt x="14" y="894"/>
                  </a:cubicBezTo>
                  <a:cubicBezTo>
                    <a:pt x="893" y="894"/>
                    <a:pt x="893" y="894"/>
                    <a:pt x="893" y="894"/>
                  </a:cubicBezTo>
                  <a:cubicBezTo>
                    <a:pt x="893" y="67"/>
                    <a:pt x="893" y="67"/>
                    <a:pt x="893" y="67"/>
                  </a:cubicBezTo>
                  <a:cubicBezTo>
                    <a:pt x="893" y="38"/>
                    <a:pt x="869" y="14"/>
                    <a:pt x="840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40" y="0"/>
                    <a:pt x="840" y="0"/>
                    <a:pt x="840" y="0"/>
                  </a:cubicBezTo>
                  <a:cubicBezTo>
                    <a:pt x="877" y="0"/>
                    <a:pt x="907" y="30"/>
                    <a:pt x="907" y="67"/>
                  </a:cubicBezTo>
                  <a:lnTo>
                    <a:pt x="907" y="9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" name="Freeform 6"/>
            <p:cNvSpPr/>
            <p:nvPr/>
          </p:nvSpPr>
          <p:spPr bwMode="auto">
            <a:xfrm>
              <a:off x="-1604962" y="3225800"/>
              <a:ext cx="133350" cy="193675"/>
            </a:xfrm>
            <a:custGeom>
              <a:avLst/>
              <a:gdLst>
                <a:gd name="T0" fmla="*/ 69 w 71"/>
                <a:gd name="T1" fmla="*/ 11 h 103"/>
                <a:gd name="T2" fmla="*/ 42 w 71"/>
                <a:gd name="T3" fmla="*/ 11 h 103"/>
                <a:gd name="T4" fmla="*/ 42 w 71"/>
                <a:gd name="T5" fmla="*/ 100 h 103"/>
                <a:gd name="T6" fmla="*/ 39 w 71"/>
                <a:gd name="T7" fmla="*/ 103 h 103"/>
                <a:gd name="T8" fmla="*/ 32 w 71"/>
                <a:gd name="T9" fmla="*/ 103 h 103"/>
                <a:gd name="T10" fmla="*/ 29 w 71"/>
                <a:gd name="T11" fmla="*/ 100 h 103"/>
                <a:gd name="T12" fmla="*/ 29 w 71"/>
                <a:gd name="T13" fmla="*/ 11 h 103"/>
                <a:gd name="T14" fmla="*/ 2 w 71"/>
                <a:gd name="T15" fmla="*/ 11 h 103"/>
                <a:gd name="T16" fmla="*/ 0 w 71"/>
                <a:gd name="T17" fmla="*/ 9 h 103"/>
                <a:gd name="T18" fmla="*/ 0 w 71"/>
                <a:gd name="T19" fmla="*/ 2 h 103"/>
                <a:gd name="T20" fmla="*/ 2 w 71"/>
                <a:gd name="T21" fmla="*/ 0 h 103"/>
                <a:gd name="T22" fmla="*/ 69 w 71"/>
                <a:gd name="T23" fmla="*/ 0 h 103"/>
                <a:gd name="T24" fmla="*/ 71 w 71"/>
                <a:gd name="T25" fmla="*/ 2 h 103"/>
                <a:gd name="T26" fmla="*/ 71 w 71"/>
                <a:gd name="T27" fmla="*/ 9 h 103"/>
                <a:gd name="T28" fmla="*/ 69 w 71"/>
                <a:gd name="T29" fmla="*/ 1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103">
                  <a:moveTo>
                    <a:pt x="69" y="11"/>
                  </a:moveTo>
                  <a:cubicBezTo>
                    <a:pt x="42" y="11"/>
                    <a:pt x="42" y="11"/>
                    <a:pt x="42" y="11"/>
                  </a:cubicBezTo>
                  <a:cubicBezTo>
                    <a:pt x="42" y="100"/>
                    <a:pt x="42" y="100"/>
                    <a:pt x="42" y="100"/>
                  </a:cubicBezTo>
                  <a:cubicBezTo>
                    <a:pt x="42" y="101"/>
                    <a:pt x="41" y="103"/>
                    <a:pt x="39" y="103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0" y="103"/>
                    <a:pt x="29" y="101"/>
                    <a:pt x="29" y="100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0" y="10"/>
                    <a:pt x="0" y="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70" y="0"/>
                    <a:pt x="71" y="1"/>
                    <a:pt x="71" y="2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71" y="10"/>
                    <a:pt x="70" y="11"/>
                    <a:pt x="6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" name="Freeform 7"/>
            <p:cNvSpPr/>
            <p:nvPr/>
          </p:nvSpPr>
          <p:spPr bwMode="auto">
            <a:xfrm>
              <a:off x="-1443037" y="3224213"/>
              <a:ext cx="109538" cy="195262"/>
            </a:xfrm>
            <a:custGeom>
              <a:avLst/>
              <a:gdLst>
                <a:gd name="T0" fmla="*/ 55 w 58"/>
                <a:gd name="T1" fmla="*/ 104 h 104"/>
                <a:gd name="T2" fmla="*/ 48 w 58"/>
                <a:gd name="T3" fmla="*/ 104 h 104"/>
                <a:gd name="T4" fmla="*/ 46 w 58"/>
                <a:gd name="T5" fmla="*/ 101 h 104"/>
                <a:gd name="T6" fmla="*/ 46 w 58"/>
                <a:gd name="T7" fmla="*/ 55 h 104"/>
                <a:gd name="T8" fmla="*/ 31 w 58"/>
                <a:gd name="T9" fmla="*/ 37 h 104"/>
                <a:gd name="T10" fmla="*/ 12 w 58"/>
                <a:gd name="T11" fmla="*/ 41 h 104"/>
                <a:gd name="T12" fmla="*/ 12 w 58"/>
                <a:gd name="T13" fmla="*/ 101 h 104"/>
                <a:gd name="T14" fmla="*/ 9 w 58"/>
                <a:gd name="T15" fmla="*/ 104 h 104"/>
                <a:gd name="T16" fmla="*/ 2 w 58"/>
                <a:gd name="T17" fmla="*/ 104 h 104"/>
                <a:gd name="T18" fmla="*/ 0 w 58"/>
                <a:gd name="T19" fmla="*/ 101 h 104"/>
                <a:gd name="T20" fmla="*/ 0 w 58"/>
                <a:gd name="T21" fmla="*/ 2 h 104"/>
                <a:gd name="T22" fmla="*/ 2 w 58"/>
                <a:gd name="T23" fmla="*/ 0 h 104"/>
                <a:gd name="T24" fmla="*/ 9 w 58"/>
                <a:gd name="T25" fmla="*/ 0 h 104"/>
                <a:gd name="T26" fmla="*/ 12 w 58"/>
                <a:gd name="T27" fmla="*/ 2 h 104"/>
                <a:gd name="T28" fmla="*/ 12 w 58"/>
                <a:gd name="T29" fmla="*/ 31 h 104"/>
                <a:gd name="T30" fmla="*/ 33 w 58"/>
                <a:gd name="T31" fmla="*/ 27 h 104"/>
                <a:gd name="T32" fmla="*/ 58 w 58"/>
                <a:gd name="T33" fmla="*/ 55 h 104"/>
                <a:gd name="T34" fmla="*/ 58 w 58"/>
                <a:gd name="T35" fmla="*/ 101 h 104"/>
                <a:gd name="T36" fmla="*/ 55 w 58"/>
                <a:gd name="T3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" h="104">
                  <a:moveTo>
                    <a:pt x="55" y="104"/>
                  </a:moveTo>
                  <a:cubicBezTo>
                    <a:pt x="48" y="104"/>
                    <a:pt x="48" y="104"/>
                    <a:pt x="48" y="104"/>
                  </a:cubicBezTo>
                  <a:cubicBezTo>
                    <a:pt x="47" y="104"/>
                    <a:pt x="46" y="102"/>
                    <a:pt x="46" y="101"/>
                  </a:cubicBezTo>
                  <a:cubicBezTo>
                    <a:pt x="46" y="55"/>
                    <a:pt x="46" y="55"/>
                    <a:pt x="46" y="55"/>
                  </a:cubicBezTo>
                  <a:cubicBezTo>
                    <a:pt x="46" y="42"/>
                    <a:pt x="40" y="37"/>
                    <a:pt x="31" y="37"/>
                  </a:cubicBezTo>
                  <a:cubicBezTo>
                    <a:pt x="27" y="37"/>
                    <a:pt x="18" y="38"/>
                    <a:pt x="12" y="4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2"/>
                    <a:pt x="11" y="104"/>
                    <a:pt x="9" y="104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1" y="104"/>
                    <a:pt x="0" y="102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8" y="28"/>
                    <a:pt x="27" y="27"/>
                    <a:pt x="33" y="27"/>
                  </a:cubicBezTo>
                  <a:cubicBezTo>
                    <a:pt x="48" y="27"/>
                    <a:pt x="58" y="35"/>
                    <a:pt x="58" y="55"/>
                  </a:cubicBezTo>
                  <a:cubicBezTo>
                    <a:pt x="58" y="101"/>
                    <a:pt x="58" y="101"/>
                    <a:pt x="58" y="101"/>
                  </a:cubicBezTo>
                  <a:cubicBezTo>
                    <a:pt x="58" y="102"/>
                    <a:pt x="57" y="104"/>
                    <a:pt x="55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" name="Freeform 8"/>
            <p:cNvSpPr>
              <a:spLocks noEditPoints="1"/>
            </p:cNvSpPr>
            <p:nvPr/>
          </p:nvSpPr>
          <p:spPr bwMode="auto">
            <a:xfrm>
              <a:off x="-1304925" y="3275013"/>
              <a:ext cx="115888" cy="147637"/>
            </a:xfrm>
            <a:custGeom>
              <a:avLst/>
              <a:gdLst>
                <a:gd name="T0" fmla="*/ 59 w 61"/>
                <a:gd name="T1" fmla="*/ 42 h 78"/>
                <a:gd name="T2" fmla="*/ 12 w 61"/>
                <a:gd name="T3" fmla="*/ 42 h 78"/>
                <a:gd name="T4" fmla="*/ 12 w 61"/>
                <a:gd name="T5" fmla="*/ 44 h 78"/>
                <a:gd name="T6" fmla="*/ 32 w 61"/>
                <a:gd name="T7" fmla="*/ 67 h 78"/>
                <a:gd name="T8" fmla="*/ 56 w 61"/>
                <a:gd name="T9" fmla="*/ 65 h 78"/>
                <a:gd name="T10" fmla="*/ 57 w 61"/>
                <a:gd name="T11" fmla="*/ 65 h 78"/>
                <a:gd name="T12" fmla="*/ 59 w 61"/>
                <a:gd name="T13" fmla="*/ 67 h 78"/>
                <a:gd name="T14" fmla="*/ 59 w 61"/>
                <a:gd name="T15" fmla="*/ 72 h 78"/>
                <a:gd name="T16" fmla="*/ 56 w 61"/>
                <a:gd name="T17" fmla="*/ 75 h 78"/>
                <a:gd name="T18" fmla="*/ 32 w 61"/>
                <a:gd name="T19" fmla="*/ 78 h 78"/>
                <a:gd name="T20" fmla="*/ 0 w 61"/>
                <a:gd name="T21" fmla="*/ 44 h 78"/>
                <a:gd name="T22" fmla="*/ 0 w 61"/>
                <a:gd name="T23" fmla="*/ 32 h 78"/>
                <a:gd name="T24" fmla="*/ 31 w 61"/>
                <a:gd name="T25" fmla="*/ 0 h 78"/>
                <a:gd name="T26" fmla="*/ 61 w 61"/>
                <a:gd name="T27" fmla="*/ 32 h 78"/>
                <a:gd name="T28" fmla="*/ 61 w 61"/>
                <a:gd name="T29" fmla="*/ 39 h 78"/>
                <a:gd name="T30" fmla="*/ 59 w 61"/>
                <a:gd name="T31" fmla="*/ 42 h 78"/>
                <a:gd name="T32" fmla="*/ 49 w 61"/>
                <a:gd name="T33" fmla="*/ 32 h 78"/>
                <a:gd name="T34" fmla="*/ 31 w 61"/>
                <a:gd name="T35" fmla="*/ 10 h 78"/>
                <a:gd name="T36" fmla="*/ 12 w 61"/>
                <a:gd name="T37" fmla="*/ 32 h 78"/>
                <a:gd name="T38" fmla="*/ 12 w 61"/>
                <a:gd name="T39" fmla="*/ 33 h 78"/>
                <a:gd name="T40" fmla="*/ 49 w 61"/>
                <a:gd name="T41" fmla="*/ 33 h 78"/>
                <a:gd name="T42" fmla="*/ 49 w 61"/>
                <a:gd name="T43" fmla="*/ 3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1" h="78">
                  <a:moveTo>
                    <a:pt x="59" y="42"/>
                  </a:moveTo>
                  <a:cubicBezTo>
                    <a:pt x="12" y="42"/>
                    <a:pt x="12" y="42"/>
                    <a:pt x="12" y="42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61"/>
                    <a:pt x="19" y="67"/>
                    <a:pt x="32" y="67"/>
                  </a:cubicBezTo>
                  <a:cubicBezTo>
                    <a:pt x="40" y="67"/>
                    <a:pt x="50" y="66"/>
                    <a:pt x="56" y="65"/>
                  </a:cubicBezTo>
                  <a:cubicBezTo>
                    <a:pt x="56" y="65"/>
                    <a:pt x="57" y="65"/>
                    <a:pt x="57" y="65"/>
                  </a:cubicBezTo>
                  <a:cubicBezTo>
                    <a:pt x="58" y="65"/>
                    <a:pt x="59" y="66"/>
                    <a:pt x="59" y="67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4"/>
                    <a:pt x="58" y="75"/>
                    <a:pt x="56" y="75"/>
                  </a:cubicBezTo>
                  <a:cubicBezTo>
                    <a:pt x="48" y="77"/>
                    <a:pt x="41" y="78"/>
                    <a:pt x="32" y="78"/>
                  </a:cubicBezTo>
                  <a:cubicBezTo>
                    <a:pt x="16" y="78"/>
                    <a:pt x="0" y="70"/>
                    <a:pt x="0" y="4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2"/>
                    <a:pt x="11" y="0"/>
                    <a:pt x="31" y="0"/>
                  </a:cubicBezTo>
                  <a:cubicBezTo>
                    <a:pt x="51" y="0"/>
                    <a:pt x="61" y="12"/>
                    <a:pt x="61" y="32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41"/>
                    <a:pt x="60" y="42"/>
                    <a:pt x="59" y="42"/>
                  </a:cubicBezTo>
                  <a:close/>
                  <a:moveTo>
                    <a:pt x="49" y="32"/>
                  </a:moveTo>
                  <a:cubicBezTo>
                    <a:pt x="49" y="16"/>
                    <a:pt x="43" y="10"/>
                    <a:pt x="31" y="10"/>
                  </a:cubicBezTo>
                  <a:cubicBezTo>
                    <a:pt x="19" y="10"/>
                    <a:pt x="12" y="17"/>
                    <a:pt x="12" y="3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49" y="33"/>
                    <a:pt x="49" y="33"/>
                    <a:pt x="49" y="33"/>
                  </a:cubicBezTo>
                  <a:lnTo>
                    <a:pt x="49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" name="Freeform 9"/>
            <p:cNvSpPr/>
            <p:nvPr/>
          </p:nvSpPr>
          <p:spPr bwMode="auto">
            <a:xfrm>
              <a:off x="-1092200" y="3225800"/>
              <a:ext cx="158750" cy="193675"/>
            </a:xfrm>
            <a:custGeom>
              <a:avLst/>
              <a:gdLst>
                <a:gd name="T0" fmla="*/ 81 w 84"/>
                <a:gd name="T1" fmla="*/ 103 h 103"/>
                <a:gd name="T2" fmla="*/ 75 w 84"/>
                <a:gd name="T3" fmla="*/ 103 h 103"/>
                <a:gd name="T4" fmla="*/ 72 w 84"/>
                <a:gd name="T5" fmla="*/ 100 h 103"/>
                <a:gd name="T6" fmla="*/ 72 w 84"/>
                <a:gd name="T7" fmla="*/ 18 h 103"/>
                <a:gd name="T8" fmla="*/ 72 w 84"/>
                <a:gd name="T9" fmla="*/ 17 h 103"/>
                <a:gd name="T10" fmla="*/ 71 w 84"/>
                <a:gd name="T11" fmla="*/ 18 h 103"/>
                <a:gd name="T12" fmla="*/ 52 w 84"/>
                <a:gd name="T13" fmla="*/ 59 h 103"/>
                <a:gd name="T14" fmla="*/ 45 w 84"/>
                <a:gd name="T15" fmla="*/ 63 h 103"/>
                <a:gd name="T16" fmla="*/ 39 w 84"/>
                <a:gd name="T17" fmla="*/ 63 h 103"/>
                <a:gd name="T18" fmla="*/ 33 w 84"/>
                <a:gd name="T19" fmla="*/ 59 h 103"/>
                <a:gd name="T20" fmla="*/ 13 w 84"/>
                <a:gd name="T21" fmla="*/ 18 h 103"/>
                <a:gd name="T22" fmla="*/ 13 w 84"/>
                <a:gd name="T23" fmla="*/ 17 h 103"/>
                <a:gd name="T24" fmla="*/ 13 w 84"/>
                <a:gd name="T25" fmla="*/ 18 h 103"/>
                <a:gd name="T26" fmla="*/ 13 w 84"/>
                <a:gd name="T27" fmla="*/ 100 h 103"/>
                <a:gd name="T28" fmla="*/ 10 w 84"/>
                <a:gd name="T29" fmla="*/ 103 h 103"/>
                <a:gd name="T30" fmla="*/ 3 w 84"/>
                <a:gd name="T31" fmla="*/ 103 h 103"/>
                <a:gd name="T32" fmla="*/ 0 w 84"/>
                <a:gd name="T33" fmla="*/ 100 h 103"/>
                <a:gd name="T34" fmla="*/ 0 w 84"/>
                <a:gd name="T35" fmla="*/ 4 h 103"/>
                <a:gd name="T36" fmla="*/ 4 w 84"/>
                <a:gd name="T37" fmla="*/ 0 h 103"/>
                <a:gd name="T38" fmla="*/ 13 w 84"/>
                <a:gd name="T39" fmla="*/ 0 h 103"/>
                <a:gd name="T40" fmla="*/ 18 w 84"/>
                <a:gd name="T41" fmla="*/ 2 h 103"/>
                <a:gd name="T42" fmla="*/ 41 w 84"/>
                <a:gd name="T43" fmla="*/ 50 h 103"/>
                <a:gd name="T44" fmla="*/ 42 w 84"/>
                <a:gd name="T45" fmla="*/ 51 h 103"/>
                <a:gd name="T46" fmla="*/ 44 w 84"/>
                <a:gd name="T47" fmla="*/ 50 h 103"/>
                <a:gd name="T48" fmla="*/ 67 w 84"/>
                <a:gd name="T49" fmla="*/ 2 h 103"/>
                <a:gd name="T50" fmla="*/ 71 w 84"/>
                <a:gd name="T51" fmla="*/ 0 h 103"/>
                <a:gd name="T52" fmla="*/ 80 w 84"/>
                <a:gd name="T53" fmla="*/ 0 h 103"/>
                <a:gd name="T54" fmla="*/ 84 w 84"/>
                <a:gd name="T55" fmla="*/ 4 h 103"/>
                <a:gd name="T56" fmla="*/ 84 w 84"/>
                <a:gd name="T57" fmla="*/ 100 h 103"/>
                <a:gd name="T58" fmla="*/ 81 w 84"/>
                <a:gd name="T5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4" h="103">
                  <a:moveTo>
                    <a:pt x="81" y="103"/>
                  </a:moveTo>
                  <a:cubicBezTo>
                    <a:pt x="75" y="103"/>
                    <a:pt x="75" y="103"/>
                    <a:pt x="75" y="103"/>
                  </a:cubicBezTo>
                  <a:cubicBezTo>
                    <a:pt x="73" y="103"/>
                    <a:pt x="72" y="101"/>
                    <a:pt x="72" y="100"/>
                  </a:cubicBezTo>
                  <a:cubicBezTo>
                    <a:pt x="72" y="18"/>
                    <a:pt x="72" y="18"/>
                    <a:pt x="72" y="18"/>
                  </a:cubicBezTo>
                  <a:cubicBezTo>
                    <a:pt x="72" y="18"/>
                    <a:pt x="72" y="17"/>
                    <a:pt x="72" y="17"/>
                  </a:cubicBezTo>
                  <a:cubicBezTo>
                    <a:pt x="71" y="17"/>
                    <a:pt x="71" y="17"/>
                    <a:pt x="71" y="18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0" y="61"/>
                    <a:pt x="49" y="63"/>
                    <a:pt x="45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6" y="63"/>
                    <a:pt x="34" y="61"/>
                    <a:pt x="33" y="59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8"/>
                    <a:pt x="13" y="18"/>
                  </a:cubicBezTo>
                  <a:cubicBezTo>
                    <a:pt x="13" y="100"/>
                    <a:pt x="13" y="100"/>
                    <a:pt x="13" y="100"/>
                  </a:cubicBezTo>
                  <a:cubicBezTo>
                    <a:pt x="13" y="101"/>
                    <a:pt x="11" y="103"/>
                    <a:pt x="10" y="103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2" y="103"/>
                    <a:pt x="0" y="101"/>
                    <a:pt x="0" y="10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7" y="1"/>
                    <a:pt x="18" y="2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1"/>
                    <a:pt x="41" y="51"/>
                    <a:pt x="42" y="51"/>
                  </a:cubicBezTo>
                  <a:cubicBezTo>
                    <a:pt x="43" y="51"/>
                    <a:pt x="43" y="51"/>
                    <a:pt x="44" y="50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1"/>
                    <a:pt x="69" y="0"/>
                    <a:pt x="71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2" y="0"/>
                    <a:pt x="84" y="2"/>
                    <a:pt x="84" y="4"/>
                  </a:cubicBezTo>
                  <a:cubicBezTo>
                    <a:pt x="84" y="100"/>
                    <a:pt x="84" y="100"/>
                    <a:pt x="84" y="100"/>
                  </a:cubicBezTo>
                  <a:cubicBezTo>
                    <a:pt x="84" y="101"/>
                    <a:pt x="83" y="103"/>
                    <a:pt x="81" y="1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" name="Freeform 10"/>
            <p:cNvSpPr>
              <a:spLocks noEditPoints="1"/>
            </p:cNvSpPr>
            <p:nvPr/>
          </p:nvSpPr>
          <p:spPr bwMode="auto">
            <a:xfrm>
              <a:off x="-901700" y="3275013"/>
              <a:ext cx="104775" cy="147637"/>
            </a:xfrm>
            <a:custGeom>
              <a:avLst/>
              <a:gdLst>
                <a:gd name="T0" fmla="*/ 53 w 56"/>
                <a:gd name="T1" fmla="*/ 77 h 78"/>
                <a:gd name="T2" fmla="*/ 47 w 56"/>
                <a:gd name="T3" fmla="*/ 77 h 78"/>
                <a:gd name="T4" fmla="*/ 44 w 56"/>
                <a:gd name="T5" fmla="*/ 74 h 78"/>
                <a:gd name="T6" fmla="*/ 44 w 56"/>
                <a:gd name="T7" fmla="*/ 71 h 78"/>
                <a:gd name="T8" fmla="*/ 23 w 56"/>
                <a:gd name="T9" fmla="*/ 78 h 78"/>
                <a:gd name="T10" fmla="*/ 0 w 56"/>
                <a:gd name="T11" fmla="*/ 55 h 78"/>
                <a:gd name="T12" fmla="*/ 0 w 56"/>
                <a:gd name="T13" fmla="*/ 54 h 78"/>
                <a:gd name="T14" fmla="*/ 34 w 56"/>
                <a:gd name="T15" fmla="*/ 31 h 78"/>
                <a:gd name="T16" fmla="*/ 44 w 56"/>
                <a:gd name="T17" fmla="*/ 31 h 78"/>
                <a:gd name="T18" fmla="*/ 44 w 56"/>
                <a:gd name="T19" fmla="*/ 26 h 78"/>
                <a:gd name="T20" fmla="*/ 29 w 56"/>
                <a:gd name="T21" fmla="*/ 10 h 78"/>
                <a:gd name="T22" fmla="*/ 8 w 56"/>
                <a:gd name="T23" fmla="*/ 11 h 78"/>
                <a:gd name="T24" fmla="*/ 7 w 56"/>
                <a:gd name="T25" fmla="*/ 11 h 78"/>
                <a:gd name="T26" fmla="*/ 5 w 56"/>
                <a:gd name="T27" fmla="*/ 9 h 78"/>
                <a:gd name="T28" fmla="*/ 5 w 56"/>
                <a:gd name="T29" fmla="*/ 4 h 78"/>
                <a:gd name="T30" fmla="*/ 8 w 56"/>
                <a:gd name="T31" fmla="*/ 1 h 78"/>
                <a:gd name="T32" fmla="*/ 29 w 56"/>
                <a:gd name="T33" fmla="*/ 0 h 78"/>
                <a:gd name="T34" fmla="*/ 56 w 56"/>
                <a:gd name="T35" fmla="*/ 26 h 78"/>
                <a:gd name="T36" fmla="*/ 56 w 56"/>
                <a:gd name="T37" fmla="*/ 74 h 78"/>
                <a:gd name="T38" fmla="*/ 53 w 56"/>
                <a:gd name="T39" fmla="*/ 77 h 78"/>
                <a:gd name="T40" fmla="*/ 44 w 56"/>
                <a:gd name="T41" fmla="*/ 40 h 78"/>
                <a:gd name="T42" fmla="*/ 34 w 56"/>
                <a:gd name="T43" fmla="*/ 40 h 78"/>
                <a:gd name="T44" fmla="*/ 12 w 56"/>
                <a:gd name="T45" fmla="*/ 53 h 78"/>
                <a:gd name="T46" fmla="*/ 12 w 56"/>
                <a:gd name="T47" fmla="*/ 55 h 78"/>
                <a:gd name="T48" fmla="*/ 25 w 56"/>
                <a:gd name="T49" fmla="*/ 68 h 78"/>
                <a:gd name="T50" fmla="*/ 44 w 56"/>
                <a:gd name="T51" fmla="*/ 62 h 78"/>
                <a:gd name="T52" fmla="*/ 44 w 56"/>
                <a:gd name="T53" fmla="*/ 4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6" h="78">
                  <a:moveTo>
                    <a:pt x="53" y="77"/>
                  </a:moveTo>
                  <a:cubicBezTo>
                    <a:pt x="47" y="77"/>
                    <a:pt x="47" y="77"/>
                    <a:pt x="47" y="77"/>
                  </a:cubicBezTo>
                  <a:cubicBezTo>
                    <a:pt x="45" y="77"/>
                    <a:pt x="44" y="75"/>
                    <a:pt x="44" y="74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37" y="75"/>
                    <a:pt x="31" y="78"/>
                    <a:pt x="23" y="78"/>
                  </a:cubicBezTo>
                  <a:cubicBezTo>
                    <a:pt x="11" y="78"/>
                    <a:pt x="0" y="72"/>
                    <a:pt x="0" y="5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39"/>
                    <a:pt x="9" y="31"/>
                    <a:pt x="3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14"/>
                    <a:pt x="40" y="10"/>
                    <a:pt x="29" y="10"/>
                  </a:cubicBezTo>
                  <a:cubicBezTo>
                    <a:pt x="20" y="10"/>
                    <a:pt x="13" y="11"/>
                    <a:pt x="8" y="11"/>
                  </a:cubicBezTo>
                  <a:cubicBezTo>
                    <a:pt x="8" y="11"/>
                    <a:pt x="8" y="11"/>
                    <a:pt x="7" y="11"/>
                  </a:cubicBezTo>
                  <a:cubicBezTo>
                    <a:pt x="6" y="11"/>
                    <a:pt x="5" y="11"/>
                    <a:pt x="5" y="9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8" y="1"/>
                  </a:cubicBezTo>
                  <a:cubicBezTo>
                    <a:pt x="13" y="0"/>
                    <a:pt x="20" y="0"/>
                    <a:pt x="29" y="0"/>
                  </a:cubicBezTo>
                  <a:cubicBezTo>
                    <a:pt x="48" y="0"/>
                    <a:pt x="56" y="9"/>
                    <a:pt x="56" y="26"/>
                  </a:cubicBezTo>
                  <a:cubicBezTo>
                    <a:pt x="56" y="74"/>
                    <a:pt x="56" y="74"/>
                    <a:pt x="56" y="74"/>
                  </a:cubicBezTo>
                  <a:cubicBezTo>
                    <a:pt x="56" y="75"/>
                    <a:pt x="55" y="77"/>
                    <a:pt x="53" y="77"/>
                  </a:cubicBezTo>
                  <a:close/>
                  <a:moveTo>
                    <a:pt x="44" y="40"/>
                  </a:moveTo>
                  <a:cubicBezTo>
                    <a:pt x="34" y="40"/>
                    <a:pt x="34" y="40"/>
                    <a:pt x="34" y="40"/>
                  </a:cubicBezTo>
                  <a:cubicBezTo>
                    <a:pt x="17" y="40"/>
                    <a:pt x="12" y="44"/>
                    <a:pt x="12" y="53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65"/>
                    <a:pt x="17" y="68"/>
                    <a:pt x="25" y="68"/>
                  </a:cubicBezTo>
                  <a:cubicBezTo>
                    <a:pt x="32" y="68"/>
                    <a:pt x="37" y="66"/>
                    <a:pt x="44" y="62"/>
                  </a:cubicBezTo>
                  <a:lnTo>
                    <a:pt x="4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" name="Freeform 11"/>
            <p:cNvSpPr>
              <a:spLocks noEditPoints="1"/>
            </p:cNvSpPr>
            <p:nvPr/>
          </p:nvSpPr>
          <p:spPr bwMode="auto">
            <a:xfrm>
              <a:off x="-763587" y="3276600"/>
              <a:ext cx="122238" cy="193675"/>
            </a:xfrm>
            <a:custGeom>
              <a:avLst/>
              <a:gdLst>
                <a:gd name="T0" fmla="*/ 62 w 65"/>
                <a:gd name="T1" fmla="*/ 9 h 103"/>
                <a:gd name="T2" fmla="*/ 57 w 65"/>
                <a:gd name="T3" fmla="*/ 10 h 103"/>
                <a:gd name="T4" fmla="*/ 62 w 65"/>
                <a:gd name="T5" fmla="*/ 24 h 103"/>
                <a:gd name="T6" fmla="*/ 62 w 65"/>
                <a:gd name="T7" fmla="*/ 25 h 103"/>
                <a:gd name="T8" fmla="*/ 31 w 65"/>
                <a:gd name="T9" fmla="*/ 49 h 103"/>
                <a:gd name="T10" fmla="*/ 15 w 65"/>
                <a:gd name="T11" fmla="*/ 46 h 103"/>
                <a:gd name="T12" fmla="*/ 12 w 65"/>
                <a:gd name="T13" fmla="*/ 51 h 103"/>
                <a:gd name="T14" fmla="*/ 16 w 65"/>
                <a:gd name="T15" fmla="*/ 55 h 103"/>
                <a:gd name="T16" fmla="*/ 37 w 65"/>
                <a:gd name="T17" fmla="*/ 60 h 103"/>
                <a:gd name="T18" fmla="*/ 63 w 65"/>
                <a:gd name="T19" fmla="*/ 81 h 103"/>
                <a:gd name="T20" fmla="*/ 63 w 65"/>
                <a:gd name="T21" fmla="*/ 82 h 103"/>
                <a:gd name="T22" fmla="*/ 32 w 65"/>
                <a:gd name="T23" fmla="*/ 103 h 103"/>
                <a:gd name="T24" fmla="*/ 0 w 65"/>
                <a:gd name="T25" fmla="*/ 81 h 103"/>
                <a:gd name="T26" fmla="*/ 0 w 65"/>
                <a:gd name="T27" fmla="*/ 80 h 103"/>
                <a:gd name="T28" fmla="*/ 9 w 65"/>
                <a:gd name="T29" fmla="*/ 62 h 103"/>
                <a:gd name="T30" fmla="*/ 8 w 65"/>
                <a:gd name="T31" fmla="*/ 62 h 103"/>
                <a:gd name="T32" fmla="*/ 1 w 65"/>
                <a:gd name="T33" fmla="*/ 51 h 103"/>
                <a:gd name="T34" fmla="*/ 1 w 65"/>
                <a:gd name="T35" fmla="*/ 51 h 103"/>
                <a:gd name="T36" fmla="*/ 7 w 65"/>
                <a:gd name="T37" fmla="*/ 41 h 103"/>
                <a:gd name="T38" fmla="*/ 1 w 65"/>
                <a:gd name="T39" fmla="*/ 25 h 103"/>
                <a:gd name="T40" fmla="*/ 1 w 65"/>
                <a:gd name="T41" fmla="*/ 24 h 103"/>
                <a:gd name="T42" fmla="*/ 31 w 65"/>
                <a:gd name="T43" fmla="*/ 0 h 103"/>
                <a:gd name="T44" fmla="*/ 61 w 65"/>
                <a:gd name="T45" fmla="*/ 0 h 103"/>
                <a:gd name="T46" fmla="*/ 65 w 65"/>
                <a:gd name="T47" fmla="*/ 3 h 103"/>
                <a:gd name="T48" fmla="*/ 65 w 65"/>
                <a:gd name="T49" fmla="*/ 6 h 103"/>
                <a:gd name="T50" fmla="*/ 62 w 65"/>
                <a:gd name="T51" fmla="*/ 9 h 103"/>
                <a:gd name="T52" fmla="*/ 51 w 65"/>
                <a:gd name="T53" fmla="*/ 81 h 103"/>
                <a:gd name="T54" fmla="*/ 34 w 65"/>
                <a:gd name="T55" fmla="*/ 70 h 103"/>
                <a:gd name="T56" fmla="*/ 19 w 65"/>
                <a:gd name="T57" fmla="*/ 66 h 103"/>
                <a:gd name="T58" fmla="*/ 12 w 65"/>
                <a:gd name="T59" fmla="*/ 80 h 103"/>
                <a:gd name="T60" fmla="*/ 12 w 65"/>
                <a:gd name="T61" fmla="*/ 81 h 103"/>
                <a:gd name="T62" fmla="*/ 32 w 65"/>
                <a:gd name="T63" fmla="*/ 94 h 103"/>
                <a:gd name="T64" fmla="*/ 51 w 65"/>
                <a:gd name="T65" fmla="*/ 82 h 103"/>
                <a:gd name="T66" fmla="*/ 51 w 65"/>
                <a:gd name="T67" fmla="*/ 81 h 103"/>
                <a:gd name="T68" fmla="*/ 50 w 65"/>
                <a:gd name="T69" fmla="*/ 24 h 103"/>
                <a:gd name="T70" fmla="*/ 31 w 65"/>
                <a:gd name="T71" fmla="*/ 9 h 103"/>
                <a:gd name="T72" fmla="*/ 13 w 65"/>
                <a:gd name="T73" fmla="*/ 24 h 103"/>
                <a:gd name="T74" fmla="*/ 13 w 65"/>
                <a:gd name="T75" fmla="*/ 25 h 103"/>
                <a:gd name="T76" fmla="*/ 31 w 65"/>
                <a:gd name="T77" fmla="*/ 39 h 103"/>
                <a:gd name="T78" fmla="*/ 50 w 65"/>
                <a:gd name="T79" fmla="*/ 25 h 103"/>
                <a:gd name="T80" fmla="*/ 50 w 65"/>
                <a:gd name="T81" fmla="*/ 2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" h="103">
                  <a:moveTo>
                    <a:pt x="62" y="9"/>
                  </a:moveTo>
                  <a:cubicBezTo>
                    <a:pt x="57" y="10"/>
                    <a:pt x="57" y="10"/>
                    <a:pt x="57" y="10"/>
                  </a:cubicBezTo>
                  <a:cubicBezTo>
                    <a:pt x="60" y="12"/>
                    <a:pt x="62" y="17"/>
                    <a:pt x="62" y="24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40"/>
                    <a:pt x="52" y="49"/>
                    <a:pt x="31" y="49"/>
                  </a:cubicBezTo>
                  <a:cubicBezTo>
                    <a:pt x="24" y="49"/>
                    <a:pt x="19" y="48"/>
                    <a:pt x="15" y="46"/>
                  </a:cubicBezTo>
                  <a:cubicBezTo>
                    <a:pt x="13" y="47"/>
                    <a:pt x="12" y="49"/>
                    <a:pt x="12" y="51"/>
                  </a:cubicBezTo>
                  <a:cubicBezTo>
                    <a:pt x="12" y="53"/>
                    <a:pt x="13" y="54"/>
                    <a:pt x="16" y="55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50" y="64"/>
                    <a:pt x="63" y="68"/>
                    <a:pt x="63" y="81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95"/>
                    <a:pt x="54" y="103"/>
                    <a:pt x="32" y="103"/>
                  </a:cubicBezTo>
                  <a:cubicBezTo>
                    <a:pt x="10" y="103"/>
                    <a:pt x="0" y="9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72"/>
                    <a:pt x="4" y="66"/>
                    <a:pt x="9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3" y="60"/>
                    <a:pt x="1" y="56"/>
                    <a:pt x="1" y="51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1" y="47"/>
                    <a:pt x="3" y="43"/>
                    <a:pt x="7" y="41"/>
                  </a:cubicBezTo>
                  <a:cubicBezTo>
                    <a:pt x="3" y="37"/>
                    <a:pt x="1" y="32"/>
                    <a:pt x="1" y="25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12"/>
                    <a:pt x="7" y="0"/>
                    <a:pt x="31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5" y="1"/>
                    <a:pt x="65" y="3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8"/>
                    <a:pt x="64" y="9"/>
                    <a:pt x="62" y="9"/>
                  </a:cubicBezTo>
                  <a:close/>
                  <a:moveTo>
                    <a:pt x="51" y="81"/>
                  </a:moveTo>
                  <a:cubicBezTo>
                    <a:pt x="51" y="75"/>
                    <a:pt x="47" y="73"/>
                    <a:pt x="34" y="7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5" y="69"/>
                    <a:pt x="12" y="73"/>
                    <a:pt x="12" y="80"/>
                  </a:cubicBezTo>
                  <a:cubicBezTo>
                    <a:pt x="12" y="81"/>
                    <a:pt x="12" y="81"/>
                    <a:pt x="12" y="81"/>
                  </a:cubicBezTo>
                  <a:cubicBezTo>
                    <a:pt x="12" y="89"/>
                    <a:pt x="16" y="94"/>
                    <a:pt x="32" y="94"/>
                  </a:cubicBezTo>
                  <a:cubicBezTo>
                    <a:pt x="47" y="94"/>
                    <a:pt x="51" y="89"/>
                    <a:pt x="51" y="82"/>
                  </a:cubicBezTo>
                  <a:lnTo>
                    <a:pt x="51" y="81"/>
                  </a:lnTo>
                  <a:close/>
                  <a:moveTo>
                    <a:pt x="50" y="24"/>
                  </a:moveTo>
                  <a:cubicBezTo>
                    <a:pt x="50" y="16"/>
                    <a:pt x="46" y="9"/>
                    <a:pt x="31" y="9"/>
                  </a:cubicBezTo>
                  <a:cubicBezTo>
                    <a:pt x="16" y="9"/>
                    <a:pt x="13" y="16"/>
                    <a:pt x="13" y="24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31"/>
                    <a:pt x="15" y="39"/>
                    <a:pt x="31" y="39"/>
                  </a:cubicBezTo>
                  <a:cubicBezTo>
                    <a:pt x="46" y="39"/>
                    <a:pt x="50" y="33"/>
                    <a:pt x="50" y="25"/>
                  </a:cubicBezTo>
                  <a:lnTo>
                    <a:pt x="5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" name="Freeform 12"/>
            <p:cNvSpPr>
              <a:spLocks noEditPoints="1"/>
            </p:cNvSpPr>
            <p:nvPr/>
          </p:nvSpPr>
          <p:spPr bwMode="auto">
            <a:xfrm>
              <a:off x="-614362" y="3222625"/>
              <a:ext cx="25400" cy="196850"/>
            </a:xfrm>
            <a:custGeom>
              <a:avLst/>
              <a:gdLst>
                <a:gd name="T0" fmla="*/ 10 w 13"/>
                <a:gd name="T1" fmla="*/ 16 h 105"/>
                <a:gd name="T2" fmla="*/ 3 w 13"/>
                <a:gd name="T3" fmla="*/ 16 h 105"/>
                <a:gd name="T4" fmla="*/ 0 w 13"/>
                <a:gd name="T5" fmla="*/ 14 h 105"/>
                <a:gd name="T6" fmla="*/ 0 w 13"/>
                <a:gd name="T7" fmla="*/ 3 h 105"/>
                <a:gd name="T8" fmla="*/ 3 w 13"/>
                <a:gd name="T9" fmla="*/ 0 h 105"/>
                <a:gd name="T10" fmla="*/ 10 w 13"/>
                <a:gd name="T11" fmla="*/ 0 h 105"/>
                <a:gd name="T12" fmla="*/ 13 w 13"/>
                <a:gd name="T13" fmla="*/ 3 h 105"/>
                <a:gd name="T14" fmla="*/ 13 w 13"/>
                <a:gd name="T15" fmla="*/ 14 h 105"/>
                <a:gd name="T16" fmla="*/ 10 w 13"/>
                <a:gd name="T17" fmla="*/ 16 h 105"/>
                <a:gd name="T18" fmla="*/ 10 w 13"/>
                <a:gd name="T19" fmla="*/ 105 h 105"/>
                <a:gd name="T20" fmla="*/ 3 w 13"/>
                <a:gd name="T21" fmla="*/ 105 h 105"/>
                <a:gd name="T22" fmla="*/ 1 w 13"/>
                <a:gd name="T23" fmla="*/ 102 h 105"/>
                <a:gd name="T24" fmla="*/ 1 w 13"/>
                <a:gd name="T25" fmla="*/ 31 h 105"/>
                <a:gd name="T26" fmla="*/ 3 w 13"/>
                <a:gd name="T27" fmla="*/ 29 h 105"/>
                <a:gd name="T28" fmla="*/ 10 w 13"/>
                <a:gd name="T29" fmla="*/ 29 h 105"/>
                <a:gd name="T30" fmla="*/ 13 w 13"/>
                <a:gd name="T31" fmla="*/ 31 h 105"/>
                <a:gd name="T32" fmla="*/ 13 w 13"/>
                <a:gd name="T33" fmla="*/ 102 h 105"/>
                <a:gd name="T34" fmla="*/ 10 w 13"/>
                <a:gd name="T3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" h="105">
                  <a:moveTo>
                    <a:pt x="10" y="16"/>
                  </a:moveTo>
                  <a:cubicBezTo>
                    <a:pt x="3" y="16"/>
                    <a:pt x="3" y="16"/>
                    <a:pt x="3" y="16"/>
                  </a:cubicBezTo>
                  <a:cubicBezTo>
                    <a:pt x="2" y="16"/>
                    <a:pt x="0" y="15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3" y="1"/>
                    <a:pt x="13" y="3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2" y="16"/>
                    <a:pt x="10" y="16"/>
                  </a:cubicBezTo>
                  <a:close/>
                  <a:moveTo>
                    <a:pt x="10" y="105"/>
                  </a:moveTo>
                  <a:cubicBezTo>
                    <a:pt x="3" y="105"/>
                    <a:pt x="3" y="105"/>
                    <a:pt x="3" y="105"/>
                  </a:cubicBezTo>
                  <a:cubicBezTo>
                    <a:pt x="2" y="105"/>
                    <a:pt x="1" y="103"/>
                    <a:pt x="1" y="102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0"/>
                    <a:pt x="2" y="29"/>
                    <a:pt x="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1" y="29"/>
                    <a:pt x="13" y="30"/>
                    <a:pt x="13" y="31"/>
                  </a:cubicBezTo>
                  <a:cubicBezTo>
                    <a:pt x="13" y="102"/>
                    <a:pt x="13" y="102"/>
                    <a:pt x="13" y="102"/>
                  </a:cubicBezTo>
                  <a:cubicBezTo>
                    <a:pt x="13" y="103"/>
                    <a:pt x="11" y="105"/>
                    <a:pt x="10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" name="Freeform 13"/>
            <p:cNvSpPr/>
            <p:nvPr/>
          </p:nvSpPr>
          <p:spPr bwMode="auto">
            <a:xfrm>
              <a:off x="-555625" y="3275013"/>
              <a:ext cx="92075" cy="147637"/>
            </a:xfrm>
            <a:custGeom>
              <a:avLst/>
              <a:gdLst>
                <a:gd name="T0" fmla="*/ 46 w 49"/>
                <a:gd name="T1" fmla="*/ 76 h 78"/>
                <a:gd name="T2" fmla="*/ 29 w 49"/>
                <a:gd name="T3" fmla="*/ 78 h 78"/>
                <a:gd name="T4" fmla="*/ 0 w 49"/>
                <a:gd name="T5" fmla="*/ 44 h 78"/>
                <a:gd name="T6" fmla="*/ 0 w 49"/>
                <a:gd name="T7" fmla="*/ 33 h 78"/>
                <a:gd name="T8" fmla="*/ 29 w 49"/>
                <a:gd name="T9" fmla="*/ 0 h 78"/>
                <a:gd name="T10" fmla="*/ 46 w 49"/>
                <a:gd name="T11" fmla="*/ 1 h 78"/>
                <a:gd name="T12" fmla="*/ 49 w 49"/>
                <a:gd name="T13" fmla="*/ 4 h 78"/>
                <a:gd name="T14" fmla="*/ 49 w 49"/>
                <a:gd name="T15" fmla="*/ 9 h 78"/>
                <a:gd name="T16" fmla="*/ 47 w 49"/>
                <a:gd name="T17" fmla="*/ 11 h 78"/>
                <a:gd name="T18" fmla="*/ 46 w 49"/>
                <a:gd name="T19" fmla="*/ 11 h 78"/>
                <a:gd name="T20" fmla="*/ 29 w 49"/>
                <a:gd name="T21" fmla="*/ 10 h 78"/>
                <a:gd name="T22" fmla="*/ 12 w 49"/>
                <a:gd name="T23" fmla="*/ 33 h 78"/>
                <a:gd name="T24" fmla="*/ 12 w 49"/>
                <a:gd name="T25" fmla="*/ 44 h 78"/>
                <a:gd name="T26" fmla="*/ 29 w 49"/>
                <a:gd name="T27" fmla="*/ 67 h 78"/>
                <a:gd name="T28" fmla="*/ 46 w 49"/>
                <a:gd name="T29" fmla="*/ 66 h 78"/>
                <a:gd name="T30" fmla="*/ 47 w 49"/>
                <a:gd name="T31" fmla="*/ 66 h 78"/>
                <a:gd name="T32" fmla="*/ 49 w 49"/>
                <a:gd name="T33" fmla="*/ 68 h 78"/>
                <a:gd name="T34" fmla="*/ 49 w 49"/>
                <a:gd name="T35" fmla="*/ 73 h 78"/>
                <a:gd name="T36" fmla="*/ 46 w 49"/>
                <a:gd name="T37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" h="78">
                  <a:moveTo>
                    <a:pt x="46" y="76"/>
                  </a:moveTo>
                  <a:cubicBezTo>
                    <a:pt x="42" y="77"/>
                    <a:pt x="36" y="78"/>
                    <a:pt x="29" y="78"/>
                  </a:cubicBezTo>
                  <a:cubicBezTo>
                    <a:pt x="10" y="78"/>
                    <a:pt x="0" y="64"/>
                    <a:pt x="0" y="4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3"/>
                    <a:pt x="10" y="0"/>
                    <a:pt x="29" y="0"/>
                  </a:cubicBezTo>
                  <a:cubicBezTo>
                    <a:pt x="35" y="0"/>
                    <a:pt x="42" y="0"/>
                    <a:pt x="46" y="1"/>
                  </a:cubicBezTo>
                  <a:cubicBezTo>
                    <a:pt x="49" y="2"/>
                    <a:pt x="49" y="2"/>
                    <a:pt x="49" y="4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9" y="11"/>
                    <a:pt x="48" y="11"/>
                    <a:pt x="47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0" y="11"/>
                    <a:pt x="36" y="10"/>
                    <a:pt x="29" y="10"/>
                  </a:cubicBezTo>
                  <a:cubicBezTo>
                    <a:pt x="18" y="10"/>
                    <a:pt x="12" y="18"/>
                    <a:pt x="12" y="3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59"/>
                    <a:pt x="18" y="67"/>
                    <a:pt x="29" y="67"/>
                  </a:cubicBezTo>
                  <a:cubicBezTo>
                    <a:pt x="36" y="67"/>
                    <a:pt x="40" y="67"/>
                    <a:pt x="46" y="66"/>
                  </a:cubicBezTo>
                  <a:cubicBezTo>
                    <a:pt x="46" y="66"/>
                    <a:pt x="46" y="66"/>
                    <a:pt x="47" y="66"/>
                  </a:cubicBezTo>
                  <a:cubicBezTo>
                    <a:pt x="48" y="66"/>
                    <a:pt x="49" y="67"/>
                    <a:pt x="49" y="68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5"/>
                    <a:pt x="49" y="76"/>
                    <a:pt x="46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" name="Freeform 14"/>
            <p:cNvSpPr>
              <a:spLocks noEditPoints="1"/>
            </p:cNvSpPr>
            <p:nvPr/>
          </p:nvSpPr>
          <p:spPr bwMode="auto">
            <a:xfrm>
              <a:off x="-374650" y="3275013"/>
              <a:ext cx="115888" cy="147637"/>
            </a:xfrm>
            <a:custGeom>
              <a:avLst/>
              <a:gdLst>
                <a:gd name="T0" fmla="*/ 31 w 62"/>
                <a:gd name="T1" fmla="*/ 78 h 78"/>
                <a:gd name="T2" fmla="*/ 0 w 62"/>
                <a:gd name="T3" fmla="*/ 44 h 78"/>
                <a:gd name="T4" fmla="*/ 0 w 62"/>
                <a:gd name="T5" fmla="*/ 33 h 78"/>
                <a:gd name="T6" fmla="*/ 31 w 62"/>
                <a:gd name="T7" fmla="*/ 0 h 78"/>
                <a:gd name="T8" fmla="*/ 62 w 62"/>
                <a:gd name="T9" fmla="*/ 33 h 78"/>
                <a:gd name="T10" fmla="*/ 62 w 62"/>
                <a:gd name="T11" fmla="*/ 44 h 78"/>
                <a:gd name="T12" fmla="*/ 31 w 62"/>
                <a:gd name="T13" fmla="*/ 78 h 78"/>
                <a:gd name="T14" fmla="*/ 50 w 62"/>
                <a:gd name="T15" fmla="*/ 33 h 78"/>
                <a:gd name="T16" fmla="*/ 31 w 62"/>
                <a:gd name="T17" fmla="*/ 10 h 78"/>
                <a:gd name="T18" fmla="*/ 12 w 62"/>
                <a:gd name="T19" fmla="*/ 33 h 78"/>
                <a:gd name="T20" fmla="*/ 12 w 62"/>
                <a:gd name="T21" fmla="*/ 44 h 78"/>
                <a:gd name="T22" fmla="*/ 31 w 62"/>
                <a:gd name="T23" fmla="*/ 67 h 78"/>
                <a:gd name="T24" fmla="*/ 50 w 62"/>
                <a:gd name="T25" fmla="*/ 44 h 78"/>
                <a:gd name="T26" fmla="*/ 50 w 62"/>
                <a:gd name="T27" fmla="*/ 3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2" h="78">
                  <a:moveTo>
                    <a:pt x="31" y="78"/>
                  </a:moveTo>
                  <a:cubicBezTo>
                    <a:pt x="11" y="78"/>
                    <a:pt x="0" y="64"/>
                    <a:pt x="0" y="4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3"/>
                    <a:pt x="11" y="0"/>
                    <a:pt x="31" y="0"/>
                  </a:cubicBezTo>
                  <a:cubicBezTo>
                    <a:pt x="51" y="0"/>
                    <a:pt x="62" y="13"/>
                    <a:pt x="62" y="3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64"/>
                    <a:pt x="51" y="78"/>
                    <a:pt x="31" y="78"/>
                  </a:cubicBezTo>
                  <a:close/>
                  <a:moveTo>
                    <a:pt x="50" y="33"/>
                  </a:moveTo>
                  <a:cubicBezTo>
                    <a:pt x="50" y="19"/>
                    <a:pt x="44" y="10"/>
                    <a:pt x="31" y="10"/>
                  </a:cubicBezTo>
                  <a:cubicBezTo>
                    <a:pt x="18" y="10"/>
                    <a:pt x="12" y="19"/>
                    <a:pt x="12" y="3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58"/>
                    <a:pt x="18" y="67"/>
                    <a:pt x="31" y="67"/>
                  </a:cubicBezTo>
                  <a:cubicBezTo>
                    <a:pt x="44" y="67"/>
                    <a:pt x="50" y="58"/>
                    <a:pt x="50" y="44"/>
                  </a:cubicBezTo>
                  <a:lnTo>
                    <a:pt x="5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" name="Freeform 15"/>
            <p:cNvSpPr/>
            <p:nvPr/>
          </p:nvSpPr>
          <p:spPr bwMode="auto">
            <a:xfrm>
              <a:off x="-244475" y="3221038"/>
              <a:ext cx="85725" cy="198437"/>
            </a:xfrm>
            <a:custGeom>
              <a:avLst/>
              <a:gdLst>
                <a:gd name="T0" fmla="*/ 44 w 46"/>
                <a:gd name="T1" fmla="*/ 10 h 106"/>
                <a:gd name="T2" fmla="*/ 37 w 46"/>
                <a:gd name="T3" fmla="*/ 10 h 106"/>
                <a:gd name="T4" fmla="*/ 29 w 46"/>
                <a:gd name="T5" fmla="*/ 20 h 106"/>
                <a:gd name="T6" fmla="*/ 29 w 46"/>
                <a:gd name="T7" fmla="*/ 30 h 106"/>
                <a:gd name="T8" fmla="*/ 43 w 46"/>
                <a:gd name="T9" fmla="*/ 30 h 106"/>
                <a:gd name="T10" fmla="*/ 46 w 46"/>
                <a:gd name="T11" fmla="*/ 32 h 106"/>
                <a:gd name="T12" fmla="*/ 46 w 46"/>
                <a:gd name="T13" fmla="*/ 37 h 106"/>
                <a:gd name="T14" fmla="*/ 43 w 46"/>
                <a:gd name="T15" fmla="*/ 40 h 106"/>
                <a:gd name="T16" fmla="*/ 29 w 46"/>
                <a:gd name="T17" fmla="*/ 40 h 106"/>
                <a:gd name="T18" fmla="*/ 29 w 46"/>
                <a:gd name="T19" fmla="*/ 103 h 106"/>
                <a:gd name="T20" fmla="*/ 26 w 46"/>
                <a:gd name="T21" fmla="*/ 106 h 106"/>
                <a:gd name="T22" fmla="*/ 19 w 46"/>
                <a:gd name="T23" fmla="*/ 106 h 106"/>
                <a:gd name="T24" fmla="*/ 16 w 46"/>
                <a:gd name="T25" fmla="*/ 103 h 106"/>
                <a:gd name="T26" fmla="*/ 16 w 46"/>
                <a:gd name="T27" fmla="*/ 40 h 106"/>
                <a:gd name="T28" fmla="*/ 3 w 46"/>
                <a:gd name="T29" fmla="*/ 38 h 106"/>
                <a:gd name="T30" fmla="*/ 0 w 46"/>
                <a:gd name="T31" fmla="*/ 36 h 106"/>
                <a:gd name="T32" fmla="*/ 0 w 46"/>
                <a:gd name="T33" fmla="*/ 32 h 106"/>
                <a:gd name="T34" fmla="*/ 3 w 46"/>
                <a:gd name="T35" fmla="*/ 30 h 106"/>
                <a:gd name="T36" fmla="*/ 16 w 46"/>
                <a:gd name="T37" fmla="*/ 30 h 106"/>
                <a:gd name="T38" fmla="*/ 16 w 46"/>
                <a:gd name="T39" fmla="*/ 20 h 106"/>
                <a:gd name="T40" fmla="*/ 36 w 46"/>
                <a:gd name="T41" fmla="*/ 0 h 106"/>
                <a:gd name="T42" fmla="*/ 43 w 46"/>
                <a:gd name="T43" fmla="*/ 1 h 106"/>
                <a:gd name="T44" fmla="*/ 46 w 46"/>
                <a:gd name="T45" fmla="*/ 4 h 106"/>
                <a:gd name="T46" fmla="*/ 46 w 46"/>
                <a:gd name="T47" fmla="*/ 8 h 106"/>
                <a:gd name="T48" fmla="*/ 44 w 46"/>
                <a:gd name="T49" fmla="*/ 1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106">
                  <a:moveTo>
                    <a:pt x="44" y="10"/>
                  </a:moveTo>
                  <a:cubicBezTo>
                    <a:pt x="37" y="10"/>
                    <a:pt x="37" y="10"/>
                    <a:pt x="37" y="10"/>
                  </a:cubicBezTo>
                  <a:cubicBezTo>
                    <a:pt x="30" y="10"/>
                    <a:pt x="29" y="12"/>
                    <a:pt x="29" y="2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5" y="30"/>
                    <a:pt x="46" y="31"/>
                    <a:pt x="46" y="32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9"/>
                    <a:pt x="45" y="40"/>
                    <a:pt x="43" y="40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9" y="104"/>
                    <a:pt x="27" y="106"/>
                    <a:pt x="26" y="106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18" y="106"/>
                    <a:pt x="16" y="104"/>
                    <a:pt x="16" y="103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1" y="38"/>
                    <a:pt x="0" y="37"/>
                    <a:pt x="0" y="3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1"/>
                    <a:pt x="1" y="30"/>
                    <a:pt x="3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5"/>
                    <a:pt x="24" y="0"/>
                    <a:pt x="36" y="0"/>
                  </a:cubicBezTo>
                  <a:cubicBezTo>
                    <a:pt x="39" y="0"/>
                    <a:pt x="42" y="1"/>
                    <a:pt x="43" y="1"/>
                  </a:cubicBezTo>
                  <a:cubicBezTo>
                    <a:pt x="45" y="2"/>
                    <a:pt x="46" y="2"/>
                    <a:pt x="46" y="4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10"/>
                    <a:pt x="45" y="10"/>
                    <a:pt x="4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" name="Freeform 16"/>
            <p:cNvSpPr/>
            <p:nvPr/>
          </p:nvSpPr>
          <p:spPr bwMode="auto">
            <a:xfrm>
              <a:off x="-73025" y="3224213"/>
              <a:ext cx="115888" cy="198437"/>
            </a:xfrm>
            <a:custGeom>
              <a:avLst/>
              <a:gdLst>
                <a:gd name="T0" fmla="*/ 28 w 62"/>
                <a:gd name="T1" fmla="*/ 105 h 105"/>
                <a:gd name="T2" fmla="*/ 5 w 62"/>
                <a:gd name="T3" fmla="*/ 103 h 105"/>
                <a:gd name="T4" fmla="*/ 2 w 62"/>
                <a:gd name="T5" fmla="*/ 100 h 105"/>
                <a:gd name="T6" fmla="*/ 2 w 62"/>
                <a:gd name="T7" fmla="*/ 95 h 105"/>
                <a:gd name="T8" fmla="*/ 4 w 62"/>
                <a:gd name="T9" fmla="*/ 92 h 105"/>
                <a:gd name="T10" fmla="*/ 5 w 62"/>
                <a:gd name="T11" fmla="*/ 92 h 105"/>
                <a:gd name="T12" fmla="*/ 28 w 62"/>
                <a:gd name="T13" fmla="*/ 93 h 105"/>
                <a:gd name="T14" fmla="*/ 49 w 62"/>
                <a:gd name="T15" fmla="*/ 77 h 105"/>
                <a:gd name="T16" fmla="*/ 32 w 62"/>
                <a:gd name="T17" fmla="*/ 58 h 105"/>
                <a:gd name="T18" fmla="*/ 19 w 62"/>
                <a:gd name="T19" fmla="*/ 50 h 105"/>
                <a:gd name="T20" fmla="*/ 0 w 62"/>
                <a:gd name="T21" fmla="*/ 24 h 105"/>
                <a:gd name="T22" fmla="*/ 33 w 62"/>
                <a:gd name="T23" fmla="*/ 0 h 105"/>
                <a:gd name="T24" fmla="*/ 57 w 62"/>
                <a:gd name="T25" fmla="*/ 2 h 105"/>
                <a:gd name="T26" fmla="*/ 59 w 62"/>
                <a:gd name="T27" fmla="*/ 4 h 105"/>
                <a:gd name="T28" fmla="*/ 59 w 62"/>
                <a:gd name="T29" fmla="*/ 10 h 105"/>
                <a:gd name="T30" fmla="*/ 57 w 62"/>
                <a:gd name="T31" fmla="*/ 12 h 105"/>
                <a:gd name="T32" fmla="*/ 56 w 62"/>
                <a:gd name="T33" fmla="*/ 12 h 105"/>
                <a:gd name="T34" fmla="*/ 33 w 62"/>
                <a:gd name="T35" fmla="*/ 11 h 105"/>
                <a:gd name="T36" fmla="*/ 12 w 62"/>
                <a:gd name="T37" fmla="*/ 24 h 105"/>
                <a:gd name="T38" fmla="*/ 27 w 62"/>
                <a:gd name="T39" fmla="*/ 41 h 105"/>
                <a:gd name="T40" fmla="*/ 40 w 62"/>
                <a:gd name="T41" fmla="*/ 49 h 105"/>
                <a:gd name="T42" fmla="*/ 62 w 62"/>
                <a:gd name="T43" fmla="*/ 77 h 105"/>
                <a:gd name="T44" fmla="*/ 28 w 62"/>
                <a:gd name="T4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05">
                  <a:moveTo>
                    <a:pt x="28" y="105"/>
                  </a:moveTo>
                  <a:cubicBezTo>
                    <a:pt x="18" y="105"/>
                    <a:pt x="11" y="104"/>
                    <a:pt x="5" y="103"/>
                  </a:cubicBezTo>
                  <a:cubicBezTo>
                    <a:pt x="2" y="102"/>
                    <a:pt x="2" y="102"/>
                    <a:pt x="2" y="100"/>
                  </a:cubicBezTo>
                  <a:cubicBezTo>
                    <a:pt x="2" y="95"/>
                    <a:pt x="2" y="95"/>
                    <a:pt x="2" y="95"/>
                  </a:cubicBezTo>
                  <a:cubicBezTo>
                    <a:pt x="2" y="93"/>
                    <a:pt x="3" y="92"/>
                    <a:pt x="4" y="92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11" y="93"/>
                    <a:pt x="21" y="93"/>
                    <a:pt x="28" y="93"/>
                  </a:cubicBezTo>
                  <a:cubicBezTo>
                    <a:pt x="44" y="93"/>
                    <a:pt x="49" y="87"/>
                    <a:pt x="49" y="77"/>
                  </a:cubicBezTo>
                  <a:cubicBezTo>
                    <a:pt x="49" y="70"/>
                    <a:pt x="45" y="66"/>
                    <a:pt x="32" y="58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6" y="43"/>
                    <a:pt x="0" y="35"/>
                    <a:pt x="0" y="24"/>
                  </a:cubicBezTo>
                  <a:cubicBezTo>
                    <a:pt x="0" y="8"/>
                    <a:pt x="12" y="0"/>
                    <a:pt x="33" y="0"/>
                  </a:cubicBezTo>
                  <a:cubicBezTo>
                    <a:pt x="41" y="0"/>
                    <a:pt x="51" y="1"/>
                    <a:pt x="57" y="2"/>
                  </a:cubicBezTo>
                  <a:cubicBezTo>
                    <a:pt x="58" y="2"/>
                    <a:pt x="59" y="3"/>
                    <a:pt x="59" y="4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1"/>
                    <a:pt x="58" y="12"/>
                    <a:pt x="57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0" y="12"/>
                    <a:pt x="41" y="11"/>
                    <a:pt x="33" y="11"/>
                  </a:cubicBezTo>
                  <a:cubicBezTo>
                    <a:pt x="18" y="11"/>
                    <a:pt x="12" y="14"/>
                    <a:pt x="12" y="24"/>
                  </a:cubicBezTo>
                  <a:cubicBezTo>
                    <a:pt x="12" y="31"/>
                    <a:pt x="17" y="35"/>
                    <a:pt x="27" y="41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56" y="58"/>
                    <a:pt x="62" y="66"/>
                    <a:pt x="62" y="77"/>
                  </a:cubicBezTo>
                  <a:cubicBezTo>
                    <a:pt x="62" y="90"/>
                    <a:pt x="55" y="105"/>
                    <a:pt x="28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" name="Freeform 17"/>
            <p:cNvSpPr>
              <a:spLocks noEditPoints="1"/>
            </p:cNvSpPr>
            <p:nvPr/>
          </p:nvSpPr>
          <p:spPr bwMode="auto">
            <a:xfrm>
              <a:off x="69850" y="3275013"/>
              <a:ext cx="114300" cy="147637"/>
            </a:xfrm>
            <a:custGeom>
              <a:avLst/>
              <a:gdLst>
                <a:gd name="T0" fmla="*/ 30 w 61"/>
                <a:gd name="T1" fmla="*/ 78 h 78"/>
                <a:gd name="T2" fmla="*/ 0 w 61"/>
                <a:gd name="T3" fmla="*/ 44 h 78"/>
                <a:gd name="T4" fmla="*/ 0 w 61"/>
                <a:gd name="T5" fmla="*/ 33 h 78"/>
                <a:gd name="T6" fmla="*/ 30 w 61"/>
                <a:gd name="T7" fmla="*/ 0 h 78"/>
                <a:gd name="T8" fmla="*/ 61 w 61"/>
                <a:gd name="T9" fmla="*/ 33 h 78"/>
                <a:gd name="T10" fmla="*/ 61 w 61"/>
                <a:gd name="T11" fmla="*/ 44 h 78"/>
                <a:gd name="T12" fmla="*/ 30 w 61"/>
                <a:gd name="T13" fmla="*/ 78 h 78"/>
                <a:gd name="T14" fmla="*/ 49 w 61"/>
                <a:gd name="T15" fmla="*/ 33 h 78"/>
                <a:gd name="T16" fmla="*/ 30 w 61"/>
                <a:gd name="T17" fmla="*/ 10 h 78"/>
                <a:gd name="T18" fmla="*/ 12 w 61"/>
                <a:gd name="T19" fmla="*/ 33 h 78"/>
                <a:gd name="T20" fmla="*/ 12 w 61"/>
                <a:gd name="T21" fmla="*/ 44 h 78"/>
                <a:gd name="T22" fmla="*/ 30 w 61"/>
                <a:gd name="T23" fmla="*/ 67 h 78"/>
                <a:gd name="T24" fmla="*/ 49 w 61"/>
                <a:gd name="T25" fmla="*/ 44 h 78"/>
                <a:gd name="T26" fmla="*/ 49 w 61"/>
                <a:gd name="T27" fmla="*/ 3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78">
                  <a:moveTo>
                    <a:pt x="30" y="78"/>
                  </a:moveTo>
                  <a:cubicBezTo>
                    <a:pt x="10" y="78"/>
                    <a:pt x="0" y="64"/>
                    <a:pt x="0" y="4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3"/>
                    <a:pt x="10" y="0"/>
                    <a:pt x="30" y="0"/>
                  </a:cubicBezTo>
                  <a:cubicBezTo>
                    <a:pt x="51" y="0"/>
                    <a:pt x="61" y="13"/>
                    <a:pt x="61" y="33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1" y="64"/>
                    <a:pt x="51" y="78"/>
                    <a:pt x="30" y="78"/>
                  </a:cubicBezTo>
                  <a:close/>
                  <a:moveTo>
                    <a:pt x="49" y="33"/>
                  </a:moveTo>
                  <a:cubicBezTo>
                    <a:pt x="49" y="19"/>
                    <a:pt x="43" y="10"/>
                    <a:pt x="30" y="10"/>
                  </a:cubicBezTo>
                  <a:cubicBezTo>
                    <a:pt x="17" y="10"/>
                    <a:pt x="12" y="19"/>
                    <a:pt x="12" y="3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58"/>
                    <a:pt x="17" y="67"/>
                    <a:pt x="30" y="67"/>
                  </a:cubicBezTo>
                  <a:cubicBezTo>
                    <a:pt x="43" y="67"/>
                    <a:pt x="49" y="58"/>
                    <a:pt x="49" y="44"/>
                  </a:cubicBezTo>
                  <a:lnTo>
                    <a:pt x="49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" name="Freeform 18"/>
            <p:cNvSpPr/>
            <p:nvPr/>
          </p:nvSpPr>
          <p:spPr bwMode="auto">
            <a:xfrm>
              <a:off x="198438" y="3221038"/>
              <a:ext cx="85725" cy="198437"/>
            </a:xfrm>
            <a:custGeom>
              <a:avLst/>
              <a:gdLst>
                <a:gd name="T0" fmla="*/ 43 w 45"/>
                <a:gd name="T1" fmla="*/ 10 h 106"/>
                <a:gd name="T2" fmla="*/ 36 w 45"/>
                <a:gd name="T3" fmla="*/ 10 h 106"/>
                <a:gd name="T4" fmla="*/ 28 w 45"/>
                <a:gd name="T5" fmla="*/ 20 h 106"/>
                <a:gd name="T6" fmla="*/ 28 w 45"/>
                <a:gd name="T7" fmla="*/ 30 h 106"/>
                <a:gd name="T8" fmla="*/ 42 w 45"/>
                <a:gd name="T9" fmla="*/ 30 h 106"/>
                <a:gd name="T10" fmla="*/ 45 w 45"/>
                <a:gd name="T11" fmla="*/ 32 h 106"/>
                <a:gd name="T12" fmla="*/ 45 w 45"/>
                <a:gd name="T13" fmla="*/ 37 h 106"/>
                <a:gd name="T14" fmla="*/ 42 w 45"/>
                <a:gd name="T15" fmla="*/ 40 h 106"/>
                <a:gd name="T16" fmla="*/ 28 w 45"/>
                <a:gd name="T17" fmla="*/ 40 h 106"/>
                <a:gd name="T18" fmla="*/ 28 w 45"/>
                <a:gd name="T19" fmla="*/ 103 h 106"/>
                <a:gd name="T20" fmla="*/ 25 w 45"/>
                <a:gd name="T21" fmla="*/ 106 h 106"/>
                <a:gd name="T22" fmla="*/ 18 w 45"/>
                <a:gd name="T23" fmla="*/ 106 h 106"/>
                <a:gd name="T24" fmla="*/ 16 w 45"/>
                <a:gd name="T25" fmla="*/ 103 h 106"/>
                <a:gd name="T26" fmla="*/ 16 w 45"/>
                <a:gd name="T27" fmla="*/ 40 h 106"/>
                <a:gd name="T28" fmla="*/ 2 w 45"/>
                <a:gd name="T29" fmla="*/ 38 h 106"/>
                <a:gd name="T30" fmla="*/ 0 w 45"/>
                <a:gd name="T31" fmla="*/ 36 h 106"/>
                <a:gd name="T32" fmla="*/ 0 w 45"/>
                <a:gd name="T33" fmla="*/ 32 h 106"/>
                <a:gd name="T34" fmla="*/ 2 w 45"/>
                <a:gd name="T35" fmla="*/ 30 h 106"/>
                <a:gd name="T36" fmla="*/ 16 w 45"/>
                <a:gd name="T37" fmla="*/ 30 h 106"/>
                <a:gd name="T38" fmla="*/ 16 w 45"/>
                <a:gd name="T39" fmla="*/ 20 h 106"/>
                <a:gd name="T40" fmla="*/ 35 w 45"/>
                <a:gd name="T41" fmla="*/ 0 h 106"/>
                <a:gd name="T42" fmla="*/ 43 w 45"/>
                <a:gd name="T43" fmla="*/ 1 h 106"/>
                <a:gd name="T44" fmla="*/ 45 w 45"/>
                <a:gd name="T45" fmla="*/ 4 h 106"/>
                <a:gd name="T46" fmla="*/ 45 w 45"/>
                <a:gd name="T47" fmla="*/ 8 h 106"/>
                <a:gd name="T48" fmla="*/ 43 w 45"/>
                <a:gd name="T49" fmla="*/ 1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5" h="106">
                  <a:moveTo>
                    <a:pt x="43" y="10"/>
                  </a:moveTo>
                  <a:cubicBezTo>
                    <a:pt x="36" y="10"/>
                    <a:pt x="36" y="10"/>
                    <a:pt x="36" y="10"/>
                  </a:cubicBezTo>
                  <a:cubicBezTo>
                    <a:pt x="30" y="10"/>
                    <a:pt x="28" y="12"/>
                    <a:pt x="28" y="2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4" y="30"/>
                    <a:pt x="45" y="31"/>
                    <a:pt x="45" y="32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9"/>
                    <a:pt x="44" y="40"/>
                    <a:pt x="42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4"/>
                    <a:pt x="27" y="106"/>
                    <a:pt x="25" y="106"/>
                  </a:cubicBezTo>
                  <a:cubicBezTo>
                    <a:pt x="18" y="106"/>
                    <a:pt x="18" y="106"/>
                    <a:pt x="18" y="106"/>
                  </a:cubicBezTo>
                  <a:cubicBezTo>
                    <a:pt x="17" y="106"/>
                    <a:pt x="16" y="104"/>
                    <a:pt x="16" y="103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8"/>
                    <a:pt x="0" y="37"/>
                    <a:pt x="0" y="3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1"/>
                    <a:pt x="1" y="30"/>
                    <a:pt x="2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5"/>
                    <a:pt x="23" y="0"/>
                    <a:pt x="35" y="0"/>
                  </a:cubicBezTo>
                  <a:cubicBezTo>
                    <a:pt x="39" y="0"/>
                    <a:pt x="41" y="1"/>
                    <a:pt x="43" y="1"/>
                  </a:cubicBezTo>
                  <a:cubicBezTo>
                    <a:pt x="44" y="2"/>
                    <a:pt x="45" y="2"/>
                    <a:pt x="45" y="4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10"/>
                    <a:pt x="44" y="10"/>
                    <a:pt x="4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" name="Freeform 19"/>
            <p:cNvSpPr/>
            <p:nvPr/>
          </p:nvSpPr>
          <p:spPr bwMode="auto">
            <a:xfrm>
              <a:off x="296863" y="3243263"/>
              <a:ext cx="88900" cy="179387"/>
            </a:xfrm>
            <a:custGeom>
              <a:avLst/>
              <a:gdLst>
                <a:gd name="T0" fmla="*/ 44 w 47"/>
                <a:gd name="T1" fmla="*/ 94 h 95"/>
                <a:gd name="T2" fmla="*/ 35 w 47"/>
                <a:gd name="T3" fmla="*/ 95 h 95"/>
                <a:gd name="T4" fmla="*/ 16 w 47"/>
                <a:gd name="T5" fmla="*/ 76 h 95"/>
                <a:gd name="T6" fmla="*/ 16 w 47"/>
                <a:gd name="T7" fmla="*/ 28 h 95"/>
                <a:gd name="T8" fmla="*/ 3 w 47"/>
                <a:gd name="T9" fmla="*/ 26 h 95"/>
                <a:gd name="T10" fmla="*/ 0 w 47"/>
                <a:gd name="T11" fmla="*/ 24 h 95"/>
                <a:gd name="T12" fmla="*/ 0 w 47"/>
                <a:gd name="T13" fmla="*/ 20 h 95"/>
                <a:gd name="T14" fmla="*/ 3 w 47"/>
                <a:gd name="T15" fmla="*/ 18 h 95"/>
                <a:gd name="T16" fmla="*/ 16 w 47"/>
                <a:gd name="T17" fmla="*/ 18 h 95"/>
                <a:gd name="T18" fmla="*/ 16 w 47"/>
                <a:gd name="T19" fmla="*/ 4 h 95"/>
                <a:gd name="T20" fmla="*/ 19 w 47"/>
                <a:gd name="T21" fmla="*/ 1 h 95"/>
                <a:gd name="T22" fmla="*/ 26 w 47"/>
                <a:gd name="T23" fmla="*/ 0 h 95"/>
                <a:gd name="T24" fmla="*/ 26 w 47"/>
                <a:gd name="T25" fmla="*/ 0 h 95"/>
                <a:gd name="T26" fmla="*/ 28 w 47"/>
                <a:gd name="T27" fmla="*/ 3 h 95"/>
                <a:gd name="T28" fmla="*/ 28 w 47"/>
                <a:gd name="T29" fmla="*/ 18 h 95"/>
                <a:gd name="T30" fmla="*/ 43 w 47"/>
                <a:gd name="T31" fmla="*/ 18 h 95"/>
                <a:gd name="T32" fmla="*/ 46 w 47"/>
                <a:gd name="T33" fmla="*/ 20 h 95"/>
                <a:gd name="T34" fmla="*/ 46 w 47"/>
                <a:gd name="T35" fmla="*/ 25 h 95"/>
                <a:gd name="T36" fmla="*/ 43 w 47"/>
                <a:gd name="T37" fmla="*/ 28 h 95"/>
                <a:gd name="T38" fmla="*/ 28 w 47"/>
                <a:gd name="T39" fmla="*/ 28 h 95"/>
                <a:gd name="T40" fmla="*/ 28 w 47"/>
                <a:gd name="T41" fmla="*/ 76 h 95"/>
                <a:gd name="T42" fmla="*/ 36 w 47"/>
                <a:gd name="T43" fmla="*/ 85 h 95"/>
                <a:gd name="T44" fmla="*/ 44 w 47"/>
                <a:gd name="T45" fmla="*/ 85 h 95"/>
                <a:gd name="T46" fmla="*/ 47 w 47"/>
                <a:gd name="T47" fmla="*/ 87 h 95"/>
                <a:gd name="T48" fmla="*/ 47 w 47"/>
                <a:gd name="T49" fmla="*/ 92 h 95"/>
                <a:gd name="T50" fmla="*/ 44 w 47"/>
                <a:gd name="T51" fmla="*/ 94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7" h="95">
                  <a:moveTo>
                    <a:pt x="44" y="94"/>
                  </a:moveTo>
                  <a:cubicBezTo>
                    <a:pt x="41" y="94"/>
                    <a:pt x="38" y="95"/>
                    <a:pt x="35" y="95"/>
                  </a:cubicBezTo>
                  <a:cubicBezTo>
                    <a:pt x="22" y="95"/>
                    <a:pt x="16" y="91"/>
                    <a:pt x="16" y="76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1" y="26"/>
                    <a:pt x="0" y="25"/>
                    <a:pt x="0" y="2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9"/>
                    <a:pt x="1" y="18"/>
                    <a:pt x="3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3"/>
                    <a:pt x="17" y="2"/>
                    <a:pt x="19" y="1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3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45" y="18"/>
                    <a:pt x="46" y="19"/>
                    <a:pt x="46" y="20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7"/>
                    <a:pt x="45" y="28"/>
                    <a:pt x="43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84"/>
                    <a:pt x="30" y="85"/>
                    <a:pt x="36" y="85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6" y="85"/>
                    <a:pt x="47" y="85"/>
                    <a:pt x="47" y="87"/>
                  </a:cubicBezTo>
                  <a:cubicBezTo>
                    <a:pt x="47" y="92"/>
                    <a:pt x="47" y="92"/>
                    <a:pt x="47" y="92"/>
                  </a:cubicBezTo>
                  <a:cubicBezTo>
                    <a:pt x="47" y="93"/>
                    <a:pt x="46" y="94"/>
                    <a:pt x="44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" name="Freeform 20"/>
            <p:cNvSpPr/>
            <p:nvPr/>
          </p:nvSpPr>
          <p:spPr bwMode="auto">
            <a:xfrm>
              <a:off x="400050" y="3276600"/>
              <a:ext cx="184150" cy="146050"/>
            </a:xfrm>
            <a:custGeom>
              <a:avLst/>
              <a:gdLst>
                <a:gd name="T0" fmla="*/ 98 w 98"/>
                <a:gd name="T1" fmla="*/ 3 h 77"/>
                <a:gd name="T2" fmla="*/ 85 w 98"/>
                <a:gd name="T3" fmla="*/ 67 h 77"/>
                <a:gd name="T4" fmla="*/ 73 w 98"/>
                <a:gd name="T5" fmla="*/ 77 h 77"/>
                <a:gd name="T6" fmla="*/ 62 w 98"/>
                <a:gd name="T7" fmla="*/ 67 h 77"/>
                <a:gd name="T8" fmla="*/ 50 w 98"/>
                <a:gd name="T9" fmla="*/ 20 h 77"/>
                <a:gd name="T10" fmla="*/ 49 w 98"/>
                <a:gd name="T11" fmla="*/ 19 h 77"/>
                <a:gd name="T12" fmla="*/ 49 w 98"/>
                <a:gd name="T13" fmla="*/ 20 h 77"/>
                <a:gd name="T14" fmla="*/ 37 w 98"/>
                <a:gd name="T15" fmla="*/ 67 h 77"/>
                <a:gd name="T16" fmla="*/ 25 w 98"/>
                <a:gd name="T17" fmla="*/ 77 h 77"/>
                <a:gd name="T18" fmla="*/ 14 w 98"/>
                <a:gd name="T19" fmla="*/ 67 h 77"/>
                <a:gd name="T20" fmla="*/ 0 w 98"/>
                <a:gd name="T21" fmla="*/ 3 h 77"/>
                <a:gd name="T22" fmla="*/ 0 w 98"/>
                <a:gd name="T23" fmla="*/ 2 h 77"/>
                <a:gd name="T24" fmla="*/ 3 w 98"/>
                <a:gd name="T25" fmla="*/ 0 h 77"/>
                <a:gd name="T26" fmla="*/ 10 w 98"/>
                <a:gd name="T27" fmla="*/ 0 h 77"/>
                <a:gd name="T28" fmla="*/ 13 w 98"/>
                <a:gd name="T29" fmla="*/ 2 h 77"/>
                <a:gd name="T30" fmla="*/ 24 w 98"/>
                <a:gd name="T31" fmla="*/ 65 h 77"/>
                <a:gd name="T32" fmla="*/ 25 w 98"/>
                <a:gd name="T33" fmla="*/ 66 h 77"/>
                <a:gd name="T34" fmla="*/ 26 w 98"/>
                <a:gd name="T35" fmla="*/ 65 h 77"/>
                <a:gd name="T36" fmla="*/ 40 w 98"/>
                <a:gd name="T37" fmla="*/ 12 h 77"/>
                <a:gd name="T38" fmla="*/ 45 w 98"/>
                <a:gd name="T39" fmla="*/ 8 h 77"/>
                <a:gd name="T40" fmla="*/ 53 w 98"/>
                <a:gd name="T41" fmla="*/ 8 h 77"/>
                <a:gd name="T42" fmla="*/ 59 w 98"/>
                <a:gd name="T43" fmla="*/ 12 h 77"/>
                <a:gd name="T44" fmla="*/ 72 w 98"/>
                <a:gd name="T45" fmla="*/ 65 h 77"/>
                <a:gd name="T46" fmla="*/ 73 w 98"/>
                <a:gd name="T47" fmla="*/ 66 h 77"/>
                <a:gd name="T48" fmla="*/ 74 w 98"/>
                <a:gd name="T49" fmla="*/ 65 h 77"/>
                <a:gd name="T50" fmla="*/ 86 w 98"/>
                <a:gd name="T51" fmla="*/ 2 h 77"/>
                <a:gd name="T52" fmla="*/ 88 w 98"/>
                <a:gd name="T53" fmla="*/ 0 h 77"/>
                <a:gd name="T54" fmla="*/ 96 w 98"/>
                <a:gd name="T55" fmla="*/ 0 h 77"/>
                <a:gd name="T56" fmla="*/ 98 w 98"/>
                <a:gd name="T57" fmla="*/ 2 h 77"/>
                <a:gd name="T58" fmla="*/ 98 w 98"/>
                <a:gd name="T59" fmla="*/ 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8" h="77">
                  <a:moveTo>
                    <a:pt x="98" y="3"/>
                  </a:moveTo>
                  <a:cubicBezTo>
                    <a:pt x="85" y="67"/>
                    <a:pt x="85" y="67"/>
                    <a:pt x="85" y="67"/>
                  </a:cubicBezTo>
                  <a:cubicBezTo>
                    <a:pt x="83" y="76"/>
                    <a:pt x="82" y="77"/>
                    <a:pt x="73" y="77"/>
                  </a:cubicBezTo>
                  <a:cubicBezTo>
                    <a:pt x="66" y="77"/>
                    <a:pt x="64" y="75"/>
                    <a:pt x="62" y="67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19"/>
                    <a:pt x="50" y="19"/>
                    <a:pt x="49" y="19"/>
                  </a:cubicBezTo>
                  <a:cubicBezTo>
                    <a:pt x="49" y="19"/>
                    <a:pt x="49" y="19"/>
                    <a:pt x="49" y="20"/>
                  </a:cubicBezTo>
                  <a:cubicBezTo>
                    <a:pt x="37" y="67"/>
                    <a:pt x="37" y="67"/>
                    <a:pt x="37" y="67"/>
                  </a:cubicBezTo>
                  <a:cubicBezTo>
                    <a:pt x="35" y="75"/>
                    <a:pt x="32" y="77"/>
                    <a:pt x="25" y="77"/>
                  </a:cubicBezTo>
                  <a:cubicBezTo>
                    <a:pt x="17" y="77"/>
                    <a:pt x="15" y="76"/>
                    <a:pt x="14" y="6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3" y="1"/>
                    <a:pt x="13" y="2"/>
                  </a:cubicBezTo>
                  <a:cubicBezTo>
                    <a:pt x="24" y="65"/>
                    <a:pt x="24" y="65"/>
                    <a:pt x="24" y="65"/>
                  </a:cubicBezTo>
                  <a:cubicBezTo>
                    <a:pt x="24" y="66"/>
                    <a:pt x="25" y="66"/>
                    <a:pt x="25" y="66"/>
                  </a:cubicBezTo>
                  <a:cubicBezTo>
                    <a:pt x="26" y="66"/>
                    <a:pt x="26" y="66"/>
                    <a:pt x="26" y="65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1" y="9"/>
                    <a:pt x="43" y="8"/>
                    <a:pt x="45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6" y="8"/>
                    <a:pt x="58" y="9"/>
                    <a:pt x="59" y="12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4" y="66"/>
                    <a:pt x="74" y="66"/>
                    <a:pt x="74" y="65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6" y="1"/>
                    <a:pt x="87" y="0"/>
                    <a:pt x="8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7" y="0"/>
                    <a:pt x="98" y="1"/>
                    <a:pt x="98" y="2"/>
                  </a:cubicBezTo>
                  <a:cubicBezTo>
                    <a:pt x="98" y="3"/>
                    <a:pt x="98" y="3"/>
                    <a:pt x="9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" name="Freeform 21"/>
            <p:cNvSpPr>
              <a:spLocks noEditPoints="1"/>
            </p:cNvSpPr>
            <p:nvPr/>
          </p:nvSpPr>
          <p:spPr bwMode="auto">
            <a:xfrm>
              <a:off x="608013" y="3275013"/>
              <a:ext cx="104775" cy="147637"/>
            </a:xfrm>
            <a:custGeom>
              <a:avLst/>
              <a:gdLst>
                <a:gd name="T0" fmla="*/ 53 w 56"/>
                <a:gd name="T1" fmla="*/ 77 h 78"/>
                <a:gd name="T2" fmla="*/ 47 w 56"/>
                <a:gd name="T3" fmla="*/ 77 h 78"/>
                <a:gd name="T4" fmla="*/ 44 w 56"/>
                <a:gd name="T5" fmla="*/ 74 h 78"/>
                <a:gd name="T6" fmla="*/ 44 w 56"/>
                <a:gd name="T7" fmla="*/ 71 h 78"/>
                <a:gd name="T8" fmla="*/ 23 w 56"/>
                <a:gd name="T9" fmla="*/ 78 h 78"/>
                <a:gd name="T10" fmla="*/ 0 w 56"/>
                <a:gd name="T11" fmla="*/ 55 h 78"/>
                <a:gd name="T12" fmla="*/ 0 w 56"/>
                <a:gd name="T13" fmla="*/ 54 h 78"/>
                <a:gd name="T14" fmla="*/ 34 w 56"/>
                <a:gd name="T15" fmla="*/ 31 h 78"/>
                <a:gd name="T16" fmla="*/ 44 w 56"/>
                <a:gd name="T17" fmla="*/ 31 h 78"/>
                <a:gd name="T18" fmla="*/ 44 w 56"/>
                <a:gd name="T19" fmla="*/ 26 h 78"/>
                <a:gd name="T20" fmla="*/ 29 w 56"/>
                <a:gd name="T21" fmla="*/ 10 h 78"/>
                <a:gd name="T22" fmla="*/ 8 w 56"/>
                <a:gd name="T23" fmla="*/ 11 h 78"/>
                <a:gd name="T24" fmla="*/ 7 w 56"/>
                <a:gd name="T25" fmla="*/ 11 h 78"/>
                <a:gd name="T26" fmla="*/ 5 w 56"/>
                <a:gd name="T27" fmla="*/ 9 h 78"/>
                <a:gd name="T28" fmla="*/ 5 w 56"/>
                <a:gd name="T29" fmla="*/ 4 h 78"/>
                <a:gd name="T30" fmla="*/ 8 w 56"/>
                <a:gd name="T31" fmla="*/ 1 h 78"/>
                <a:gd name="T32" fmla="*/ 29 w 56"/>
                <a:gd name="T33" fmla="*/ 0 h 78"/>
                <a:gd name="T34" fmla="*/ 56 w 56"/>
                <a:gd name="T35" fmla="*/ 26 h 78"/>
                <a:gd name="T36" fmla="*/ 56 w 56"/>
                <a:gd name="T37" fmla="*/ 74 h 78"/>
                <a:gd name="T38" fmla="*/ 53 w 56"/>
                <a:gd name="T39" fmla="*/ 77 h 78"/>
                <a:gd name="T40" fmla="*/ 44 w 56"/>
                <a:gd name="T41" fmla="*/ 40 h 78"/>
                <a:gd name="T42" fmla="*/ 34 w 56"/>
                <a:gd name="T43" fmla="*/ 40 h 78"/>
                <a:gd name="T44" fmla="*/ 12 w 56"/>
                <a:gd name="T45" fmla="*/ 53 h 78"/>
                <a:gd name="T46" fmla="*/ 12 w 56"/>
                <a:gd name="T47" fmla="*/ 55 h 78"/>
                <a:gd name="T48" fmla="*/ 25 w 56"/>
                <a:gd name="T49" fmla="*/ 68 h 78"/>
                <a:gd name="T50" fmla="*/ 44 w 56"/>
                <a:gd name="T51" fmla="*/ 62 h 78"/>
                <a:gd name="T52" fmla="*/ 44 w 56"/>
                <a:gd name="T53" fmla="*/ 4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6" h="78">
                  <a:moveTo>
                    <a:pt x="53" y="77"/>
                  </a:moveTo>
                  <a:cubicBezTo>
                    <a:pt x="47" y="77"/>
                    <a:pt x="47" y="77"/>
                    <a:pt x="47" y="77"/>
                  </a:cubicBezTo>
                  <a:cubicBezTo>
                    <a:pt x="45" y="77"/>
                    <a:pt x="44" y="75"/>
                    <a:pt x="44" y="74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37" y="75"/>
                    <a:pt x="30" y="78"/>
                    <a:pt x="23" y="78"/>
                  </a:cubicBezTo>
                  <a:cubicBezTo>
                    <a:pt x="11" y="78"/>
                    <a:pt x="0" y="72"/>
                    <a:pt x="0" y="5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39"/>
                    <a:pt x="9" y="31"/>
                    <a:pt x="3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14"/>
                    <a:pt x="40" y="10"/>
                    <a:pt x="29" y="10"/>
                  </a:cubicBezTo>
                  <a:cubicBezTo>
                    <a:pt x="20" y="10"/>
                    <a:pt x="13" y="11"/>
                    <a:pt x="8" y="11"/>
                  </a:cubicBezTo>
                  <a:cubicBezTo>
                    <a:pt x="8" y="11"/>
                    <a:pt x="7" y="11"/>
                    <a:pt x="7" y="11"/>
                  </a:cubicBezTo>
                  <a:cubicBezTo>
                    <a:pt x="6" y="11"/>
                    <a:pt x="5" y="11"/>
                    <a:pt x="5" y="9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8" y="1"/>
                  </a:cubicBezTo>
                  <a:cubicBezTo>
                    <a:pt x="13" y="0"/>
                    <a:pt x="20" y="0"/>
                    <a:pt x="29" y="0"/>
                  </a:cubicBezTo>
                  <a:cubicBezTo>
                    <a:pt x="48" y="0"/>
                    <a:pt x="56" y="9"/>
                    <a:pt x="56" y="26"/>
                  </a:cubicBezTo>
                  <a:cubicBezTo>
                    <a:pt x="56" y="74"/>
                    <a:pt x="56" y="74"/>
                    <a:pt x="56" y="74"/>
                  </a:cubicBezTo>
                  <a:cubicBezTo>
                    <a:pt x="56" y="75"/>
                    <a:pt x="55" y="77"/>
                    <a:pt x="53" y="77"/>
                  </a:cubicBezTo>
                  <a:close/>
                  <a:moveTo>
                    <a:pt x="44" y="40"/>
                  </a:moveTo>
                  <a:cubicBezTo>
                    <a:pt x="34" y="40"/>
                    <a:pt x="34" y="40"/>
                    <a:pt x="34" y="40"/>
                  </a:cubicBezTo>
                  <a:cubicBezTo>
                    <a:pt x="17" y="40"/>
                    <a:pt x="12" y="44"/>
                    <a:pt x="12" y="53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65"/>
                    <a:pt x="17" y="68"/>
                    <a:pt x="25" y="68"/>
                  </a:cubicBezTo>
                  <a:cubicBezTo>
                    <a:pt x="31" y="68"/>
                    <a:pt x="37" y="66"/>
                    <a:pt x="44" y="62"/>
                  </a:cubicBezTo>
                  <a:lnTo>
                    <a:pt x="4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" name="Freeform 22"/>
            <p:cNvSpPr/>
            <p:nvPr/>
          </p:nvSpPr>
          <p:spPr bwMode="auto">
            <a:xfrm>
              <a:off x="749300" y="3275013"/>
              <a:ext cx="63500" cy="144462"/>
            </a:xfrm>
            <a:custGeom>
              <a:avLst/>
              <a:gdLst>
                <a:gd name="T0" fmla="*/ 31 w 34"/>
                <a:gd name="T1" fmla="*/ 10 h 77"/>
                <a:gd name="T2" fmla="*/ 12 w 34"/>
                <a:gd name="T3" fmla="*/ 16 h 77"/>
                <a:gd name="T4" fmla="*/ 12 w 34"/>
                <a:gd name="T5" fmla="*/ 74 h 77"/>
                <a:gd name="T6" fmla="*/ 9 w 34"/>
                <a:gd name="T7" fmla="*/ 77 h 77"/>
                <a:gd name="T8" fmla="*/ 2 w 34"/>
                <a:gd name="T9" fmla="*/ 77 h 77"/>
                <a:gd name="T10" fmla="*/ 0 w 34"/>
                <a:gd name="T11" fmla="*/ 74 h 77"/>
                <a:gd name="T12" fmla="*/ 0 w 34"/>
                <a:gd name="T13" fmla="*/ 3 h 77"/>
                <a:gd name="T14" fmla="*/ 2 w 34"/>
                <a:gd name="T15" fmla="*/ 1 h 77"/>
                <a:gd name="T16" fmla="*/ 9 w 34"/>
                <a:gd name="T17" fmla="*/ 1 h 77"/>
                <a:gd name="T18" fmla="*/ 11 w 34"/>
                <a:gd name="T19" fmla="*/ 3 h 77"/>
                <a:gd name="T20" fmla="*/ 11 w 34"/>
                <a:gd name="T21" fmla="*/ 6 h 77"/>
                <a:gd name="T22" fmla="*/ 31 w 34"/>
                <a:gd name="T23" fmla="*/ 0 h 77"/>
                <a:gd name="T24" fmla="*/ 34 w 34"/>
                <a:gd name="T25" fmla="*/ 2 h 77"/>
                <a:gd name="T26" fmla="*/ 34 w 34"/>
                <a:gd name="T27" fmla="*/ 8 h 77"/>
                <a:gd name="T28" fmla="*/ 31 w 34"/>
                <a:gd name="T29" fmla="*/ 1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77">
                  <a:moveTo>
                    <a:pt x="31" y="10"/>
                  </a:moveTo>
                  <a:cubicBezTo>
                    <a:pt x="25" y="10"/>
                    <a:pt x="19" y="12"/>
                    <a:pt x="12" y="16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75"/>
                    <a:pt x="11" y="77"/>
                    <a:pt x="9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1" y="77"/>
                    <a:pt x="0" y="75"/>
                    <a:pt x="0" y="7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1"/>
                    <a:pt x="11" y="2"/>
                    <a:pt x="11" y="3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8" y="1"/>
                    <a:pt x="25" y="0"/>
                    <a:pt x="31" y="0"/>
                  </a:cubicBezTo>
                  <a:cubicBezTo>
                    <a:pt x="33" y="0"/>
                    <a:pt x="34" y="0"/>
                    <a:pt x="34" y="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9"/>
                    <a:pt x="33" y="10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" name="Freeform 23"/>
            <p:cNvSpPr>
              <a:spLocks noEditPoints="1"/>
            </p:cNvSpPr>
            <p:nvPr/>
          </p:nvSpPr>
          <p:spPr bwMode="auto">
            <a:xfrm>
              <a:off x="825500" y="3275013"/>
              <a:ext cx="114300" cy="147637"/>
            </a:xfrm>
            <a:custGeom>
              <a:avLst/>
              <a:gdLst>
                <a:gd name="T0" fmla="*/ 59 w 61"/>
                <a:gd name="T1" fmla="*/ 42 h 78"/>
                <a:gd name="T2" fmla="*/ 12 w 61"/>
                <a:gd name="T3" fmla="*/ 42 h 78"/>
                <a:gd name="T4" fmla="*/ 12 w 61"/>
                <a:gd name="T5" fmla="*/ 44 h 78"/>
                <a:gd name="T6" fmla="*/ 32 w 61"/>
                <a:gd name="T7" fmla="*/ 67 h 78"/>
                <a:gd name="T8" fmla="*/ 56 w 61"/>
                <a:gd name="T9" fmla="*/ 65 h 78"/>
                <a:gd name="T10" fmla="*/ 57 w 61"/>
                <a:gd name="T11" fmla="*/ 65 h 78"/>
                <a:gd name="T12" fmla="*/ 59 w 61"/>
                <a:gd name="T13" fmla="*/ 67 h 78"/>
                <a:gd name="T14" fmla="*/ 59 w 61"/>
                <a:gd name="T15" fmla="*/ 72 h 78"/>
                <a:gd name="T16" fmla="*/ 56 w 61"/>
                <a:gd name="T17" fmla="*/ 75 h 78"/>
                <a:gd name="T18" fmla="*/ 32 w 61"/>
                <a:gd name="T19" fmla="*/ 78 h 78"/>
                <a:gd name="T20" fmla="*/ 0 w 61"/>
                <a:gd name="T21" fmla="*/ 44 h 78"/>
                <a:gd name="T22" fmla="*/ 0 w 61"/>
                <a:gd name="T23" fmla="*/ 32 h 78"/>
                <a:gd name="T24" fmla="*/ 31 w 61"/>
                <a:gd name="T25" fmla="*/ 0 h 78"/>
                <a:gd name="T26" fmla="*/ 61 w 61"/>
                <a:gd name="T27" fmla="*/ 32 h 78"/>
                <a:gd name="T28" fmla="*/ 61 w 61"/>
                <a:gd name="T29" fmla="*/ 39 h 78"/>
                <a:gd name="T30" fmla="*/ 59 w 61"/>
                <a:gd name="T31" fmla="*/ 42 h 78"/>
                <a:gd name="T32" fmla="*/ 49 w 61"/>
                <a:gd name="T33" fmla="*/ 32 h 78"/>
                <a:gd name="T34" fmla="*/ 31 w 61"/>
                <a:gd name="T35" fmla="*/ 10 h 78"/>
                <a:gd name="T36" fmla="*/ 12 w 61"/>
                <a:gd name="T37" fmla="*/ 32 h 78"/>
                <a:gd name="T38" fmla="*/ 12 w 61"/>
                <a:gd name="T39" fmla="*/ 33 h 78"/>
                <a:gd name="T40" fmla="*/ 49 w 61"/>
                <a:gd name="T41" fmla="*/ 33 h 78"/>
                <a:gd name="T42" fmla="*/ 49 w 61"/>
                <a:gd name="T43" fmla="*/ 3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1" h="78">
                  <a:moveTo>
                    <a:pt x="59" y="42"/>
                  </a:moveTo>
                  <a:cubicBezTo>
                    <a:pt x="12" y="42"/>
                    <a:pt x="12" y="42"/>
                    <a:pt x="12" y="42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61"/>
                    <a:pt x="19" y="67"/>
                    <a:pt x="32" y="67"/>
                  </a:cubicBezTo>
                  <a:cubicBezTo>
                    <a:pt x="40" y="67"/>
                    <a:pt x="50" y="66"/>
                    <a:pt x="56" y="65"/>
                  </a:cubicBezTo>
                  <a:cubicBezTo>
                    <a:pt x="56" y="65"/>
                    <a:pt x="57" y="65"/>
                    <a:pt x="57" y="65"/>
                  </a:cubicBezTo>
                  <a:cubicBezTo>
                    <a:pt x="58" y="65"/>
                    <a:pt x="59" y="66"/>
                    <a:pt x="59" y="67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4"/>
                    <a:pt x="58" y="75"/>
                    <a:pt x="56" y="75"/>
                  </a:cubicBezTo>
                  <a:cubicBezTo>
                    <a:pt x="48" y="77"/>
                    <a:pt x="41" y="78"/>
                    <a:pt x="32" y="78"/>
                  </a:cubicBezTo>
                  <a:cubicBezTo>
                    <a:pt x="16" y="78"/>
                    <a:pt x="0" y="70"/>
                    <a:pt x="0" y="4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2"/>
                    <a:pt x="11" y="0"/>
                    <a:pt x="31" y="0"/>
                  </a:cubicBezTo>
                  <a:cubicBezTo>
                    <a:pt x="51" y="0"/>
                    <a:pt x="61" y="12"/>
                    <a:pt x="61" y="32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41"/>
                    <a:pt x="60" y="42"/>
                    <a:pt x="59" y="42"/>
                  </a:cubicBezTo>
                  <a:close/>
                  <a:moveTo>
                    <a:pt x="49" y="32"/>
                  </a:moveTo>
                  <a:cubicBezTo>
                    <a:pt x="49" y="16"/>
                    <a:pt x="43" y="10"/>
                    <a:pt x="31" y="10"/>
                  </a:cubicBezTo>
                  <a:cubicBezTo>
                    <a:pt x="19" y="10"/>
                    <a:pt x="12" y="17"/>
                    <a:pt x="12" y="3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49" y="33"/>
                    <a:pt x="49" y="33"/>
                    <a:pt x="49" y="33"/>
                  </a:cubicBezTo>
                  <a:lnTo>
                    <a:pt x="49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" name="Freeform 24"/>
            <p:cNvSpPr>
              <a:spLocks noEditPoints="1"/>
            </p:cNvSpPr>
            <p:nvPr/>
          </p:nvSpPr>
          <p:spPr bwMode="auto">
            <a:xfrm>
              <a:off x="-1906587" y="2647950"/>
              <a:ext cx="441325" cy="441325"/>
            </a:xfrm>
            <a:custGeom>
              <a:avLst/>
              <a:gdLst>
                <a:gd name="T0" fmla="*/ 78 w 234"/>
                <a:gd name="T1" fmla="*/ 178 h 234"/>
                <a:gd name="T2" fmla="*/ 78 w 234"/>
                <a:gd name="T3" fmla="*/ 232 h 234"/>
                <a:gd name="T4" fmla="*/ 60 w 234"/>
                <a:gd name="T5" fmla="*/ 232 h 234"/>
                <a:gd name="T6" fmla="*/ 60 w 234"/>
                <a:gd name="T7" fmla="*/ 181 h 234"/>
                <a:gd name="T8" fmla="*/ 4 w 234"/>
                <a:gd name="T9" fmla="*/ 190 h 234"/>
                <a:gd name="T10" fmla="*/ 0 w 234"/>
                <a:gd name="T11" fmla="*/ 170 h 234"/>
                <a:gd name="T12" fmla="*/ 60 w 234"/>
                <a:gd name="T13" fmla="*/ 162 h 234"/>
                <a:gd name="T14" fmla="*/ 60 w 234"/>
                <a:gd name="T15" fmla="*/ 126 h 234"/>
                <a:gd name="T16" fmla="*/ 33 w 234"/>
                <a:gd name="T17" fmla="*/ 126 h 234"/>
                <a:gd name="T18" fmla="*/ 14 w 234"/>
                <a:gd name="T19" fmla="*/ 129 h 234"/>
                <a:gd name="T20" fmla="*/ 8 w 234"/>
                <a:gd name="T21" fmla="*/ 112 h 234"/>
                <a:gd name="T22" fmla="*/ 22 w 234"/>
                <a:gd name="T23" fmla="*/ 92 h 234"/>
                <a:gd name="T24" fmla="*/ 38 w 234"/>
                <a:gd name="T25" fmla="*/ 49 h 234"/>
                <a:gd name="T26" fmla="*/ 3 w 234"/>
                <a:gd name="T27" fmla="*/ 49 h 234"/>
                <a:gd name="T28" fmla="*/ 3 w 234"/>
                <a:gd name="T29" fmla="*/ 31 h 234"/>
                <a:gd name="T30" fmla="*/ 44 w 234"/>
                <a:gd name="T31" fmla="*/ 31 h 234"/>
                <a:gd name="T32" fmla="*/ 51 w 234"/>
                <a:gd name="T33" fmla="*/ 1 h 234"/>
                <a:gd name="T34" fmla="*/ 70 w 234"/>
                <a:gd name="T35" fmla="*/ 5 h 234"/>
                <a:gd name="T36" fmla="*/ 63 w 234"/>
                <a:gd name="T37" fmla="*/ 31 h 234"/>
                <a:gd name="T38" fmla="*/ 111 w 234"/>
                <a:gd name="T39" fmla="*/ 31 h 234"/>
                <a:gd name="T40" fmla="*/ 111 w 234"/>
                <a:gd name="T41" fmla="*/ 49 h 234"/>
                <a:gd name="T42" fmla="*/ 57 w 234"/>
                <a:gd name="T43" fmla="*/ 49 h 234"/>
                <a:gd name="T44" fmla="*/ 33 w 234"/>
                <a:gd name="T45" fmla="*/ 108 h 234"/>
                <a:gd name="T46" fmla="*/ 60 w 234"/>
                <a:gd name="T47" fmla="*/ 108 h 234"/>
                <a:gd name="T48" fmla="*/ 60 w 234"/>
                <a:gd name="T49" fmla="*/ 71 h 234"/>
                <a:gd name="T50" fmla="*/ 78 w 234"/>
                <a:gd name="T51" fmla="*/ 71 h 234"/>
                <a:gd name="T52" fmla="*/ 78 w 234"/>
                <a:gd name="T53" fmla="*/ 108 h 234"/>
                <a:gd name="T54" fmla="*/ 110 w 234"/>
                <a:gd name="T55" fmla="*/ 108 h 234"/>
                <a:gd name="T56" fmla="*/ 110 w 234"/>
                <a:gd name="T57" fmla="*/ 126 h 234"/>
                <a:gd name="T58" fmla="*/ 78 w 234"/>
                <a:gd name="T59" fmla="*/ 126 h 234"/>
                <a:gd name="T60" fmla="*/ 78 w 234"/>
                <a:gd name="T61" fmla="*/ 160 h 234"/>
                <a:gd name="T62" fmla="*/ 111 w 234"/>
                <a:gd name="T63" fmla="*/ 155 h 234"/>
                <a:gd name="T64" fmla="*/ 112 w 234"/>
                <a:gd name="T65" fmla="*/ 172 h 234"/>
                <a:gd name="T66" fmla="*/ 78 w 234"/>
                <a:gd name="T67" fmla="*/ 178 h 234"/>
                <a:gd name="T68" fmla="*/ 176 w 234"/>
                <a:gd name="T69" fmla="*/ 93 h 234"/>
                <a:gd name="T70" fmla="*/ 176 w 234"/>
                <a:gd name="T71" fmla="*/ 116 h 234"/>
                <a:gd name="T72" fmla="*/ 234 w 234"/>
                <a:gd name="T73" fmla="*/ 218 h 234"/>
                <a:gd name="T74" fmla="*/ 222 w 234"/>
                <a:gd name="T75" fmla="*/ 233 h 234"/>
                <a:gd name="T76" fmla="*/ 169 w 234"/>
                <a:gd name="T77" fmla="*/ 155 h 234"/>
                <a:gd name="T78" fmla="*/ 114 w 234"/>
                <a:gd name="T79" fmla="*/ 234 h 234"/>
                <a:gd name="T80" fmla="*/ 100 w 234"/>
                <a:gd name="T81" fmla="*/ 221 h 234"/>
                <a:gd name="T82" fmla="*/ 158 w 234"/>
                <a:gd name="T83" fmla="*/ 92 h 234"/>
                <a:gd name="T84" fmla="*/ 158 w 234"/>
                <a:gd name="T85" fmla="*/ 81 h 234"/>
                <a:gd name="T86" fmla="*/ 176 w 234"/>
                <a:gd name="T87" fmla="*/ 81 h 234"/>
                <a:gd name="T88" fmla="*/ 176 w 234"/>
                <a:gd name="T89" fmla="*/ 93 h 234"/>
                <a:gd name="T90" fmla="*/ 147 w 234"/>
                <a:gd name="T91" fmla="*/ 57 h 234"/>
                <a:gd name="T92" fmla="*/ 122 w 234"/>
                <a:gd name="T93" fmla="*/ 111 h 234"/>
                <a:gd name="T94" fmla="*/ 107 w 234"/>
                <a:gd name="T95" fmla="*/ 101 h 234"/>
                <a:gd name="T96" fmla="*/ 140 w 234"/>
                <a:gd name="T97" fmla="*/ 0 h 234"/>
                <a:gd name="T98" fmla="*/ 158 w 234"/>
                <a:gd name="T99" fmla="*/ 3 h 234"/>
                <a:gd name="T100" fmla="*/ 151 w 234"/>
                <a:gd name="T101" fmla="*/ 39 h 234"/>
                <a:gd name="T102" fmla="*/ 218 w 234"/>
                <a:gd name="T103" fmla="*/ 39 h 234"/>
                <a:gd name="T104" fmla="*/ 220 w 234"/>
                <a:gd name="T105" fmla="*/ 39 h 234"/>
                <a:gd name="T106" fmla="*/ 233 w 234"/>
                <a:gd name="T107" fmla="*/ 42 h 234"/>
                <a:gd name="T108" fmla="*/ 216 w 234"/>
                <a:gd name="T109" fmla="*/ 110 h 234"/>
                <a:gd name="T110" fmla="*/ 200 w 234"/>
                <a:gd name="T111" fmla="*/ 106 h 234"/>
                <a:gd name="T112" fmla="*/ 212 w 234"/>
                <a:gd name="T113" fmla="*/ 57 h 234"/>
                <a:gd name="T114" fmla="*/ 147 w 234"/>
                <a:gd name="T115" fmla="*/ 5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4" h="234">
                  <a:moveTo>
                    <a:pt x="78" y="178"/>
                  </a:moveTo>
                  <a:cubicBezTo>
                    <a:pt x="78" y="232"/>
                    <a:pt x="78" y="232"/>
                    <a:pt x="78" y="232"/>
                  </a:cubicBezTo>
                  <a:cubicBezTo>
                    <a:pt x="60" y="232"/>
                    <a:pt x="60" y="232"/>
                    <a:pt x="60" y="232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40" y="184"/>
                    <a:pt x="20" y="187"/>
                    <a:pt x="4" y="190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16" y="169"/>
                    <a:pt x="37" y="166"/>
                    <a:pt x="60" y="162"/>
                  </a:cubicBezTo>
                  <a:cubicBezTo>
                    <a:pt x="60" y="126"/>
                    <a:pt x="60" y="126"/>
                    <a:pt x="60" y="126"/>
                  </a:cubicBezTo>
                  <a:cubicBezTo>
                    <a:pt x="33" y="126"/>
                    <a:pt x="33" y="126"/>
                    <a:pt x="33" y="126"/>
                  </a:cubicBezTo>
                  <a:cubicBezTo>
                    <a:pt x="24" y="126"/>
                    <a:pt x="16" y="127"/>
                    <a:pt x="14" y="129"/>
                  </a:cubicBezTo>
                  <a:cubicBezTo>
                    <a:pt x="13" y="125"/>
                    <a:pt x="10" y="117"/>
                    <a:pt x="8" y="112"/>
                  </a:cubicBezTo>
                  <a:cubicBezTo>
                    <a:pt x="13" y="111"/>
                    <a:pt x="16" y="103"/>
                    <a:pt x="22" y="92"/>
                  </a:cubicBezTo>
                  <a:cubicBezTo>
                    <a:pt x="25" y="86"/>
                    <a:pt x="31" y="69"/>
                    <a:pt x="38" y="49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7" y="21"/>
                    <a:pt x="49" y="11"/>
                    <a:pt x="51" y="1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68" y="13"/>
                    <a:pt x="65" y="22"/>
                    <a:pt x="63" y="31"/>
                  </a:cubicBezTo>
                  <a:cubicBezTo>
                    <a:pt x="111" y="31"/>
                    <a:pt x="111" y="31"/>
                    <a:pt x="111" y="31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49" y="70"/>
                    <a:pt x="41" y="91"/>
                    <a:pt x="33" y="108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78" y="108"/>
                    <a:pt x="78" y="108"/>
                    <a:pt x="78" y="108"/>
                  </a:cubicBezTo>
                  <a:cubicBezTo>
                    <a:pt x="110" y="108"/>
                    <a:pt x="110" y="108"/>
                    <a:pt x="110" y="108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78" y="126"/>
                    <a:pt x="78" y="126"/>
                    <a:pt x="78" y="126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72"/>
                    <a:pt x="112" y="172"/>
                    <a:pt x="112" y="172"/>
                  </a:cubicBezTo>
                  <a:lnTo>
                    <a:pt x="78" y="178"/>
                  </a:lnTo>
                  <a:close/>
                  <a:moveTo>
                    <a:pt x="176" y="93"/>
                  </a:moveTo>
                  <a:cubicBezTo>
                    <a:pt x="176" y="100"/>
                    <a:pt x="176" y="107"/>
                    <a:pt x="176" y="116"/>
                  </a:cubicBezTo>
                  <a:cubicBezTo>
                    <a:pt x="185" y="161"/>
                    <a:pt x="203" y="201"/>
                    <a:pt x="234" y="218"/>
                  </a:cubicBezTo>
                  <a:cubicBezTo>
                    <a:pt x="231" y="221"/>
                    <a:pt x="225" y="228"/>
                    <a:pt x="222" y="233"/>
                  </a:cubicBezTo>
                  <a:cubicBezTo>
                    <a:pt x="196" y="218"/>
                    <a:pt x="180" y="190"/>
                    <a:pt x="169" y="155"/>
                  </a:cubicBezTo>
                  <a:cubicBezTo>
                    <a:pt x="161" y="182"/>
                    <a:pt x="146" y="210"/>
                    <a:pt x="114" y="234"/>
                  </a:cubicBezTo>
                  <a:cubicBezTo>
                    <a:pt x="111" y="229"/>
                    <a:pt x="105" y="224"/>
                    <a:pt x="100" y="221"/>
                  </a:cubicBezTo>
                  <a:cubicBezTo>
                    <a:pt x="155" y="181"/>
                    <a:pt x="158" y="128"/>
                    <a:pt x="158" y="92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76" y="81"/>
                    <a:pt x="176" y="81"/>
                    <a:pt x="176" y="81"/>
                  </a:cubicBezTo>
                  <a:lnTo>
                    <a:pt x="176" y="93"/>
                  </a:lnTo>
                  <a:close/>
                  <a:moveTo>
                    <a:pt x="147" y="57"/>
                  </a:moveTo>
                  <a:cubicBezTo>
                    <a:pt x="140" y="78"/>
                    <a:pt x="132" y="97"/>
                    <a:pt x="122" y="111"/>
                  </a:cubicBezTo>
                  <a:cubicBezTo>
                    <a:pt x="119" y="108"/>
                    <a:pt x="111" y="103"/>
                    <a:pt x="107" y="101"/>
                  </a:cubicBezTo>
                  <a:cubicBezTo>
                    <a:pt x="124" y="77"/>
                    <a:pt x="134" y="40"/>
                    <a:pt x="140" y="0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56" y="16"/>
                    <a:pt x="154" y="28"/>
                    <a:pt x="151" y="39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20" y="39"/>
                    <a:pt x="220" y="39"/>
                    <a:pt x="220" y="39"/>
                  </a:cubicBezTo>
                  <a:cubicBezTo>
                    <a:pt x="233" y="42"/>
                    <a:pt x="233" y="42"/>
                    <a:pt x="233" y="42"/>
                  </a:cubicBezTo>
                  <a:cubicBezTo>
                    <a:pt x="228" y="66"/>
                    <a:pt x="221" y="93"/>
                    <a:pt x="216" y="110"/>
                  </a:cubicBezTo>
                  <a:cubicBezTo>
                    <a:pt x="200" y="106"/>
                    <a:pt x="200" y="106"/>
                    <a:pt x="200" y="106"/>
                  </a:cubicBezTo>
                  <a:cubicBezTo>
                    <a:pt x="204" y="93"/>
                    <a:pt x="208" y="74"/>
                    <a:pt x="212" y="57"/>
                  </a:cubicBezTo>
                  <a:lnTo>
                    <a:pt x="147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" name="Freeform 25"/>
            <p:cNvSpPr>
              <a:spLocks noEditPoints="1"/>
            </p:cNvSpPr>
            <p:nvPr/>
          </p:nvSpPr>
          <p:spPr bwMode="auto">
            <a:xfrm>
              <a:off x="-1428750" y="2649538"/>
              <a:ext cx="436563" cy="439737"/>
            </a:xfrm>
            <a:custGeom>
              <a:avLst/>
              <a:gdLst>
                <a:gd name="T0" fmla="*/ 77 w 232"/>
                <a:gd name="T1" fmla="*/ 6 h 233"/>
                <a:gd name="T2" fmla="*/ 52 w 232"/>
                <a:gd name="T3" fmla="*/ 61 h 233"/>
                <a:gd name="T4" fmla="*/ 52 w 232"/>
                <a:gd name="T5" fmla="*/ 232 h 233"/>
                <a:gd name="T6" fmla="*/ 34 w 232"/>
                <a:gd name="T7" fmla="*/ 232 h 233"/>
                <a:gd name="T8" fmla="*/ 34 w 232"/>
                <a:gd name="T9" fmla="*/ 90 h 233"/>
                <a:gd name="T10" fmla="*/ 10 w 232"/>
                <a:gd name="T11" fmla="*/ 120 h 233"/>
                <a:gd name="T12" fmla="*/ 0 w 232"/>
                <a:gd name="T13" fmla="*/ 102 h 233"/>
                <a:gd name="T14" fmla="*/ 59 w 232"/>
                <a:gd name="T15" fmla="*/ 0 h 233"/>
                <a:gd name="T16" fmla="*/ 77 w 232"/>
                <a:gd name="T17" fmla="*/ 6 h 233"/>
                <a:gd name="T18" fmla="*/ 232 w 232"/>
                <a:gd name="T19" fmla="*/ 144 h 233"/>
                <a:gd name="T20" fmla="*/ 163 w 232"/>
                <a:gd name="T21" fmla="*/ 144 h 233"/>
                <a:gd name="T22" fmla="*/ 163 w 232"/>
                <a:gd name="T23" fmla="*/ 233 h 233"/>
                <a:gd name="T24" fmla="*/ 144 w 232"/>
                <a:gd name="T25" fmla="*/ 233 h 233"/>
                <a:gd name="T26" fmla="*/ 144 w 232"/>
                <a:gd name="T27" fmla="*/ 144 h 233"/>
                <a:gd name="T28" fmla="*/ 72 w 232"/>
                <a:gd name="T29" fmla="*/ 144 h 233"/>
                <a:gd name="T30" fmla="*/ 72 w 232"/>
                <a:gd name="T31" fmla="*/ 126 h 233"/>
                <a:gd name="T32" fmla="*/ 144 w 232"/>
                <a:gd name="T33" fmla="*/ 126 h 233"/>
                <a:gd name="T34" fmla="*/ 144 w 232"/>
                <a:gd name="T35" fmla="*/ 70 h 233"/>
                <a:gd name="T36" fmla="*/ 104 w 232"/>
                <a:gd name="T37" fmla="*/ 70 h 233"/>
                <a:gd name="T38" fmla="*/ 86 w 232"/>
                <a:gd name="T39" fmla="*/ 109 h 233"/>
                <a:gd name="T40" fmla="*/ 69 w 232"/>
                <a:gd name="T41" fmla="*/ 99 h 233"/>
                <a:gd name="T42" fmla="*/ 101 w 232"/>
                <a:gd name="T43" fmla="*/ 12 h 233"/>
                <a:gd name="T44" fmla="*/ 119 w 232"/>
                <a:gd name="T45" fmla="*/ 16 h 233"/>
                <a:gd name="T46" fmla="*/ 110 w 232"/>
                <a:gd name="T47" fmla="*/ 51 h 233"/>
                <a:gd name="T48" fmla="*/ 144 w 232"/>
                <a:gd name="T49" fmla="*/ 51 h 233"/>
                <a:gd name="T50" fmla="*/ 144 w 232"/>
                <a:gd name="T51" fmla="*/ 3 h 233"/>
                <a:gd name="T52" fmla="*/ 163 w 232"/>
                <a:gd name="T53" fmla="*/ 3 h 233"/>
                <a:gd name="T54" fmla="*/ 163 w 232"/>
                <a:gd name="T55" fmla="*/ 51 h 233"/>
                <a:gd name="T56" fmla="*/ 221 w 232"/>
                <a:gd name="T57" fmla="*/ 51 h 233"/>
                <a:gd name="T58" fmla="*/ 221 w 232"/>
                <a:gd name="T59" fmla="*/ 70 h 233"/>
                <a:gd name="T60" fmla="*/ 163 w 232"/>
                <a:gd name="T61" fmla="*/ 70 h 233"/>
                <a:gd name="T62" fmla="*/ 163 w 232"/>
                <a:gd name="T63" fmla="*/ 126 h 233"/>
                <a:gd name="T64" fmla="*/ 232 w 232"/>
                <a:gd name="T65" fmla="*/ 126 h 233"/>
                <a:gd name="T66" fmla="*/ 232 w 232"/>
                <a:gd name="T67" fmla="*/ 144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2" h="233">
                  <a:moveTo>
                    <a:pt x="77" y="6"/>
                  </a:moveTo>
                  <a:cubicBezTo>
                    <a:pt x="70" y="24"/>
                    <a:pt x="62" y="43"/>
                    <a:pt x="52" y="61"/>
                  </a:cubicBezTo>
                  <a:cubicBezTo>
                    <a:pt x="52" y="232"/>
                    <a:pt x="52" y="232"/>
                    <a:pt x="52" y="232"/>
                  </a:cubicBezTo>
                  <a:cubicBezTo>
                    <a:pt x="34" y="232"/>
                    <a:pt x="34" y="232"/>
                    <a:pt x="34" y="232"/>
                  </a:cubicBezTo>
                  <a:cubicBezTo>
                    <a:pt x="34" y="90"/>
                    <a:pt x="34" y="90"/>
                    <a:pt x="34" y="90"/>
                  </a:cubicBezTo>
                  <a:cubicBezTo>
                    <a:pt x="26" y="101"/>
                    <a:pt x="18" y="111"/>
                    <a:pt x="10" y="120"/>
                  </a:cubicBezTo>
                  <a:cubicBezTo>
                    <a:pt x="8" y="116"/>
                    <a:pt x="3" y="106"/>
                    <a:pt x="0" y="102"/>
                  </a:cubicBezTo>
                  <a:cubicBezTo>
                    <a:pt x="23" y="77"/>
                    <a:pt x="46" y="39"/>
                    <a:pt x="59" y="0"/>
                  </a:cubicBezTo>
                  <a:lnTo>
                    <a:pt x="77" y="6"/>
                  </a:lnTo>
                  <a:close/>
                  <a:moveTo>
                    <a:pt x="232" y="144"/>
                  </a:moveTo>
                  <a:cubicBezTo>
                    <a:pt x="163" y="144"/>
                    <a:pt x="163" y="144"/>
                    <a:pt x="163" y="144"/>
                  </a:cubicBezTo>
                  <a:cubicBezTo>
                    <a:pt x="163" y="233"/>
                    <a:pt x="163" y="233"/>
                    <a:pt x="163" y="233"/>
                  </a:cubicBezTo>
                  <a:cubicBezTo>
                    <a:pt x="144" y="233"/>
                    <a:pt x="144" y="233"/>
                    <a:pt x="144" y="233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72" y="144"/>
                    <a:pt x="72" y="144"/>
                    <a:pt x="72" y="144"/>
                  </a:cubicBezTo>
                  <a:cubicBezTo>
                    <a:pt x="72" y="126"/>
                    <a:pt x="72" y="126"/>
                    <a:pt x="72" y="126"/>
                  </a:cubicBezTo>
                  <a:cubicBezTo>
                    <a:pt x="144" y="126"/>
                    <a:pt x="144" y="126"/>
                    <a:pt x="144" y="126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04" y="70"/>
                    <a:pt x="104" y="70"/>
                    <a:pt x="104" y="70"/>
                  </a:cubicBezTo>
                  <a:cubicBezTo>
                    <a:pt x="99" y="85"/>
                    <a:pt x="93" y="98"/>
                    <a:pt x="86" y="109"/>
                  </a:cubicBezTo>
                  <a:cubicBezTo>
                    <a:pt x="82" y="106"/>
                    <a:pt x="74" y="101"/>
                    <a:pt x="69" y="99"/>
                  </a:cubicBezTo>
                  <a:cubicBezTo>
                    <a:pt x="85" y="78"/>
                    <a:pt x="95" y="45"/>
                    <a:pt x="101" y="12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116" y="28"/>
                    <a:pt x="114" y="40"/>
                    <a:pt x="110" y="51"/>
                  </a:cubicBezTo>
                  <a:cubicBezTo>
                    <a:pt x="144" y="51"/>
                    <a:pt x="144" y="51"/>
                    <a:pt x="144" y="51"/>
                  </a:cubicBezTo>
                  <a:cubicBezTo>
                    <a:pt x="144" y="3"/>
                    <a:pt x="144" y="3"/>
                    <a:pt x="144" y="3"/>
                  </a:cubicBezTo>
                  <a:cubicBezTo>
                    <a:pt x="163" y="3"/>
                    <a:pt x="163" y="3"/>
                    <a:pt x="163" y="3"/>
                  </a:cubicBezTo>
                  <a:cubicBezTo>
                    <a:pt x="163" y="51"/>
                    <a:pt x="163" y="51"/>
                    <a:pt x="163" y="51"/>
                  </a:cubicBezTo>
                  <a:cubicBezTo>
                    <a:pt x="221" y="51"/>
                    <a:pt x="221" y="51"/>
                    <a:pt x="221" y="51"/>
                  </a:cubicBezTo>
                  <a:cubicBezTo>
                    <a:pt x="221" y="70"/>
                    <a:pt x="221" y="70"/>
                    <a:pt x="221" y="70"/>
                  </a:cubicBezTo>
                  <a:cubicBezTo>
                    <a:pt x="163" y="70"/>
                    <a:pt x="163" y="70"/>
                    <a:pt x="163" y="70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232" y="126"/>
                    <a:pt x="232" y="126"/>
                    <a:pt x="232" y="126"/>
                  </a:cubicBezTo>
                  <a:lnTo>
                    <a:pt x="232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" name="Freeform 26"/>
            <p:cNvSpPr>
              <a:spLocks noEditPoints="1"/>
            </p:cNvSpPr>
            <p:nvPr/>
          </p:nvSpPr>
          <p:spPr bwMode="auto">
            <a:xfrm>
              <a:off x="-942975" y="2649538"/>
              <a:ext cx="417513" cy="439737"/>
            </a:xfrm>
            <a:custGeom>
              <a:avLst/>
              <a:gdLst>
                <a:gd name="T0" fmla="*/ 110 w 222"/>
                <a:gd name="T1" fmla="*/ 53 h 233"/>
                <a:gd name="T2" fmla="*/ 81 w 222"/>
                <a:gd name="T3" fmla="*/ 168 h 233"/>
                <a:gd name="T4" fmla="*/ 109 w 222"/>
                <a:gd name="T5" fmla="*/ 195 h 233"/>
                <a:gd name="T6" fmla="*/ 97 w 222"/>
                <a:gd name="T7" fmla="*/ 211 h 233"/>
                <a:gd name="T8" fmla="*/ 71 w 222"/>
                <a:gd name="T9" fmla="*/ 185 h 233"/>
                <a:gd name="T10" fmla="*/ 12 w 222"/>
                <a:gd name="T11" fmla="*/ 233 h 233"/>
                <a:gd name="T12" fmla="*/ 0 w 222"/>
                <a:gd name="T13" fmla="*/ 217 h 233"/>
                <a:gd name="T14" fmla="*/ 57 w 222"/>
                <a:gd name="T15" fmla="*/ 172 h 233"/>
                <a:gd name="T16" fmla="*/ 13 w 222"/>
                <a:gd name="T17" fmla="*/ 138 h 233"/>
                <a:gd name="T18" fmla="*/ 31 w 222"/>
                <a:gd name="T19" fmla="*/ 69 h 233"/>
                <a:gd name="T20" fmla="*/ 0 w 222"/>
                <a:gd name="T21" fmla="*/ 69 h 233"/>
                <a:gd name="T22" fmla="*/ 0 w 222"/>
                <a:gd name="T23" fmla="*/ 52 h 233"/>
                <a:gd name="T24" fmla="*/ 35 w 222"/>
                <a:gd name="T25" fmla="*/ 52 h 233"/>
                <a:gd name="T26" fmla="*/ 43 w 222"/>
                <a:gd name="T27" fmla="*/ 0 h 233"/>
                <a:gd name="T28" fmla="*/ 62 w 222"/>
                <a:gd name="T29" fmla="*/ 1 h 233"/>
                <a:gd name="T30" fmla="*/ 53 w 222"/>
                <a:gd name="T31" fmla="*/ 52 h 233"/>
                <a:gd name="T32" fmla="*/ 94 w 222"/>
                <a:gd name="T33" fmla="*/ 52 h 233"/>
                <a:gd name="T34" fmla="*/ 98 w 222"/>
                <a:gd name="T35" fmla="*/ 51 h 233"/>
                <a:gd name="T36" fmla="*/ 110 w 222"/>
                <a:gd name="T37" fmla="*/ 53 h 233"/>
                <a:gd name="T38" fmla="*/ 50 w 222"/>
                <a:gd name="T39" fmla="*/ 69 h 233"/>
                <a:gd name="T40" fmla="*/ 34 w 222"/>
                <a:gd name="T41" fmla="*/ 131 h 233"/>
                <a:gd name="T42" fmla="*/ 67 w 222"/>
                <a:gd name="T43" fmla="*/ 156 h 233"/>
                <a:gd name="T44" fmla="*/ 90 w 222"/>
                <a:gd name="T45" fmla="*/ 69 h 233"/>
                <a:gd name="T46" fmla="*/ 50 w 222"/>
                <a:gd name="T47" fmla="*/ 69 h 233"/>
                <a:gd name="T48" fmla="*/ 222 w 222"/>
                <a:gd name="T49" fmla="*/ 27 h 233"/>
                <a:gd name="T50" fmla="*/ 222 w 222"/>
                <a:gd name="T51" fmla="*/ 222 h 233"/>
                <a:gd name="T52" fmla="*/ 204 w 222"/>
                <a:gd name="T53" fmla="*/ 222 h 233"/>
                <a:gd name="T54" fmla="*/ 204 w 222"/>
                <a:gd name="T55" fmla="*/ 207 h 233"/>
                <a:gd name="T56" fmla="*/ 141 w 222"/>
                <a:gd name="T57" fmla="*/ 207 h 233"/>
                <a:gd name="T58" fmla="*/ 141 w 222"/>
                <a:gd name="T59" fmla="*/ 226 h 233"/>
                <a:gd name="T60" fmla="*/ 123 w 222"/>
                <a:gd name="T61" fmla="*/ 226 h 233"/>
                <a:gd name="T62" fmla="*/ 123 w 222"/>
                <a:gd name="T63" fmla="*/ 27 h 233"/>
                <a:gd name="T64" fmla="*/ 222 w 222"/>
                <a:gd name="T65" fmla="*/ 27 h 233"/>
                <a:gd name="T66" fmla="*/ 204 w 222"/>
                <a:gd name="T67" fmla="*/ 189 h 233"/>
                <a:gd name="T68" fmla="*/ 204 w 222"/>
                <a:gd name="T69" fmla="*/ 45 h 233"/>
                <a:gd name="T70" fmla="*/ 141 w 222"/>
                <a:gd name="T71" fmla="*/ 45 h 233"/>
                <a:gd name="T72" fmla="*/ 141 w 222"/>
                <a:gd name="T73" fmla="*/ 189 h 233"/>
                <a:gd name="T74" fmla="*/ 204 w 222"/>
                <a:gd name="T75" fmla="*/ 18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2" h="233">
                  <a:moveTo>
                    <a:pt x="110" y="53"/>
                  </a:moveTo>
                  <a:cubicBezTo>
                    <a:pt x="106" y="102"/>
                    <a:pt x="97" y="140"/>
                    <a:pt x="81" y="168"/>
                  </a:cubicBezTo>
                  <a:cubicBezTo>
                    <a:pt x="93" y="178"/>
                    <a:pt x="103" y="187"/>
                    <a:pt x="109" y="195"/>
                  </a:cubicBezTo>
                  <a:cubicBezTo>
                    <a:pt x="97" y="211"/>
                    <a:pt x="97" y="211"/>
                    <a:pt x="97" y="211"/>
                  </a:cubicBezTo>
                  <a:cubicBezTo>
                    <a:pt x="90" y="203"/>
                    <a:pt x="81" y="194"/>
                    <a:pt x="71" y="185"/>
                  </a:cubicBezTo>
                  <a:cubicBezTo>
                    <a:pt x="56" y="207"/>
                    <a:pt x="36" y="222"/>
                    <a:pt x="12" y="233"/>
                  </a:cubicBezTo>
                  <a:cubicBezTo>
                    <a:pt x="10" y="228"/>
                    <a:pt x="4" y="221"/>
                    <a:pt x="0" y="217"/>
                  </a:cubicBezTo>
                  <a:cubicBezTo>
                    <a:pt x="23" y="208"/>
                    <a:pt x="42" y="194"/>
                    <a:pt x="57" y="172"/>
                  </a:cubicBezTo>
                  <a:cubicBezTo>
                    <a:pt x="42" y="160"/>
                    <a:pt x="27" y="148"/>
                    <a:pt x="13" y="138"/>
                  </a:cubicBezTo>
                  <a:cubicBezTo>
                    <a:pt x="19" y="120"/>
                    <a:pt x="26" y="95"/>
                    <a:pt x="31" y="69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9" y="34"/>
                    <a:pt x="41" y="16"/>
                    <a:pt x="43" y="0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0" y="17"/>
                    <a:pt x="57" y="34"/>
                    <a:pt x="53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8" y="51"/>
                    <a:pt x="98" y="51"/>
                    <a:pt x="98" y="51"/>
                  </a:cubicBezTo>
                  <a:lnTo>
                    <a:pt x="110" y="53"/>
                  </a:lnTo>
                  <a:close/>
                  <a:moveTo>
                    <a:pt x="50" y="69"/>
                  </a:moveTo>
                  <a:cubicBezTo>
                    <a:pt x="45" y="92"/>
                    <a:pt x="39" y="113"/>
                    <a:pt x="34" y="131"/>
                  </a:cubicBezTo>
                  <a:cubicBezTo>
                    <a:pt x="44" y="139"/>
                    <a:pt x="56" y="147"/>
                    <a:pt x="67" y="156"/>
                  </a:cubicBezTo>
                  <a:cubicBezTo>
                    <a:pt x="78" y="133"/>
                    <a:pt x="86" y="104"/>
                    <a:pt x="90" y="69"/>
                  </a:cubicBezTo>
                  <a:lnTo>
                    <a:pt x="50" y="69"/>
                  </a:lnTo>
                  <a:close/>
                  <a:moveTo>
                    <a:pt x="222" y="27"/>
                  </a:moveTo>
                  <a:cubicBezTo>
                    <a:pt x="222" y="222"/>
                    <a:pt x="222" y="222"/>
                    <a:pt x="222" y="222"/>
                  </a:cubicBezTo>
                  <a:cubicBezTo>
                    <a:pt x="204" y="222"/>
                    <a:pt x="204" y="222"/>
                    <a:pt x="204" y="222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141" y="207"/>
                    <a:pt x="141" y="207"/>
                    <a:pt x="141" y="207"/>
                  </a:cubicBezTo>
                  <a:cubicBezTo>
                    <a:pt x="141" y="226"/>
                    <a:pt x="141" y="226"/>
                    <a:pt x="141" y="226"/>
                  </a:cubicBezTo>
                  <a:cubicBezTo>
                    <a:pt x="123" y="226"/>
                    <a:pt x="123" y="226"/>
                    <a:pt x="123" y="226"/>
                  </a:cubicBezTo>
                  <a:cubicBezTo>
                    <a:pt x="123" y="27"/>
                    <a:pt x="123" y="27"/>
                    <a:pt x="123" y="27"/>
                  </a:cubicBezTo>
                  <a:lnTo>
                    <a:pt x="222" y="27"/>
                  </a:lnTo>
                  <a:close/>
                  <a:moveTo>
                    <a:pt x="204" y="189"/>
                  </a:moveTo>
                  <a:cubicBezTo>
                    <a:pt x="204" y="45"/>
                    <a:pt x="204" y="45"/>
                    <a:pt x="204" y="45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1" y="189"/>
                    <a:pt x="141" y="189"/>
                    <a:pt x="141" y="189"/>
                  </a:cubicBezTo>
                  <a:lnTo>
                    <a:pt x="204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" name="Freeform 27"/>
            <p:cNvSpPr>
              <a:spLocks noEditPoints="1"/>
            </p:cNvSpPr>
            <p:nvPr/>
          </p:nvSpPr>
          <p:spPr bwMode="auto">
            <a:xfrm>
              <a:off x="-463550" y="2647950"/>
              <a:ext cx="442913" cy="433387"/>
            </a:xfrm>
            <a:custGeom>
              <a:avLst/>
              <a:gdLst>
                <a:gd name="T0" fmla="*/ 123 w 235"/>
                <a:gd name="T1" fmla="*/ 189 h 230"/>
                <a:gd name="T2" fmla="*/ 125 w 235"/>
                <a:gd name="T3" fmla="*/ 207 h 230"/>
                <a:gd name="T4" fmla="*/ 3 w 235"/>
                <a:gd name="T5" fmla="*/ 230 h 230"/>
                <a:gd name="T6" fmla="*/ 0 w 235"/>
                <a:gd name="T7" fmla="*/ 210 h 230"/>
                <a:gd name="T8" fmla="*/ 20 w 235"/>
                <a:gd name="T9" fmla="*/ 207 h 230"/>
                <a:gd name="T10" fmla="*/ 20 w 235"/>
                <a:gd name="T11" fmla="*/ 52 h 230"/>
                <a:gd name="T12" fmla="*/ 39 w 235"/>
                <a:gd name="T13" fmla="*/ 52 h 230"/>
                <a:gd name="T14" fmla="*/ 39 w 235"/>
                <a:gd name="T15" fmla="*/ 203 h 230"/>
                <a:gd name="T16" fmla="*/ 68 w 235"/>
                <a:gd name="T17" fmla="*/ 199 h 230"/>
                <a:gd name="T18" fmla="*/ 68 w 235"/>
                <a:gd name="T19" fmla="*/ 0 h 230"/>
                <a:gd name="T20" fmla="*/ 87 w 235"/>
                <a:gd name="T21" fmla="*/ 0 h 230"/>
                <a:gd name="T22" fmla="*/ 87 w 235"/>
                <a:gd name="T23" fmla="*/ 79 h 230"/>
                <a:gd name="T24" fmla="*/ 123 w 235"/>
                <a:gd name="T25" fmla="*/ 79 h 230"/>
                <a:gd name="T26" fmla="*/ 123 w 235"/>
                <a:gd name="T27" fmla="*/ 97 h 230"/>
                <a:gd name="T28" fmla="*/ 87 w 235"/>
                <a:gd name="T29" fmla="*/ 97 h 230"/>
                <a:gd name="T30" fmla="*/ 87 w 235"/>
                <a:gd name="T31" fmla="*/ 195 h 230"/>
                <a:gd name="T32" fmla="*/ 123 w 235"/>
                <a:gd name="T33" fmla="*/ 189 h 230"/>
                <a:gd name="T34" fmla="*/ 203 w 235"/>
                <a:gd name="T35" fmla="*/ 207 h 230"/>
                <a:gd name="T36" fmla="*/ 216 w 235"/>
                <a:gd name="T37" fmla="*/ 162 h 230"/>
                <a:gd name="T38" fmla="*/ 235 w 235"/>
                <a:gd name="T39" fmla="*/ 170 h 230"/>
                <a:gd name="T40" fmla="*/ 204 w 235"/>
                <a:gd name="T41" fmla="*/ 225 h 230"/>
                <a:gd name="T42" fmla="*/ 166 w 235"/>
                <a:gd name="T43" fmla="*/ 225 h 230"/>
                <a:gd name="T44" fmla="*/ 136 w 235"/>
                <a:gd name="T45" fmla="*/ 190 h 230"/>
                <a:gd name="T46" fmla="*/ 136 w 235"/>
                <a:gd name="T47" fmla="*/ 0 h 230"/>
                <a:gd name="T48" fmla="*/ 156 w 235"/>
                <a:gd name="T49" fmla="*/ 0 h 230"/>
                <a:gd name="T50" fmla="*/ 156 w 235"/>
                <a:gd name="T51" fmla="*/ 93 h 230"/>
                <a:gd name="T52" fmla="*/ 210 w 235"/>
                <a:gd name="T53" fmla="*/ 56 h 230"/>
                <a:gd name="T54" fmla="*/ 226 w 235"/>
                <a:gd name="T55" fmla="*/ 71 h 230"/>
                <a:gd name="T56" fmla="*/ 156 w 235"/>
                <a:gd name="T57" fmla="*/ 112 h 230"/>
                <a:gd name="T58" fmla="*/ 156 w 235"/>
                <a:gd name="T59" fmla="*/ 191 h 230"/>
                <a:gd name="T60" fmla="*/ 168 w 235"/>
                <a:gd name="T61" fmla="*/ 207 h 230"/>
                <a:gd name="T62" fmla="*/ 203 w 235"/>
                <a:gd name="T63" fmla="*/ 207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5" h="230">
                  <a:moveTo>
                    <a:pt x="123" y="189"/>
                  </a:moveTo>
                  <a:cubicBezTo>
                    <a:pt x="125" y="207"/>
                    <a:pt x="125" y="207"/>
                    <a:pt x="125" y="207"/>
                  </a:cubicBezTo>
                  <a:cubicBezTo>
                    <a:pt x="81" y="216"/>
                    <a:pt x="35" y="224"/>
                    <a:pt x="3" y="230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6" y="209"/>
                    <a:pt x="13" y="208"/>
                    <a:pt x="20" y="207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203"/>
                    <a:pt x="39" y="203"/>
                    <a:pt x="39" y="203"/>
                  </a:cubicBezTo>
                  <a:cubicBezTo>
                    <a:pt x="68" y="199"/>
                    <a:pt x="68" y="199"/>
                    <a:pt x="68" y="199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3" y="97"/>
                    <a:pt x="123" y="97"/>
                    <a:pt x="123" y="97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7" y="195"/>
                    <a:pt x="87" y="195"/>
                    <a:pt x="87" y="195"/>
                  </a:cubicBezTo>
                  <a:lnTo>
                    <a:pt x="123" y="189"/>
                  </a:lnTo>
                  <a:close/>
                  <a:moveTo>
                    <a:pt x="203" y="207"/>
                  </a:moveTo>
                  <a:cubicBezTo>
                    <a:pt x="214" y="207"/>
                    <a:pt x="215" y="198"/>
                    <a:pt x="216" y="162"/>
                  </a:cubicBezTo>
                  <a:cubicBezTo>
                    <a:pt x="222" y="165"/>
                    <a:pt x="229" y="169"/>
                    <a:pt x="235" y="170"/>
                  </a:cubicBezTo>
                  <a:cubicBezTo>
                    <a:pt x="232" y="211"/>
                    <a:pt x="227" y="225"/>
                    <a:pt x="204" y="225"/>
                  </a:cubicBezTo>
                  <a:cubicBezTo>
                    <a:pt x="166" y="225"/>
                    <a:pt x="166" y="225"/>
                    <a:pt x="166" y="225"/>
                  </a:cubicBezTo>
                  <a:cubicBezTo>
                    <a:pt x="142" y="225"/>
                    <a:pt x="136" y="218"/>
                    <a:pt x="136" y="19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56" y="93"/>
                    <a:pt x="156" y="93"/>
                    <a:pt x="156" y="93"/>
                  </a:cubicBezTo>
                  <a:cubicBezTo>
                    <a:pt x="176" y="82"/>
                    <a:pt x="197" y="68"/>
                    <a:pt x="210" y="56"/>
                  </a:cubicBezTo>
                  <a:cubicBezTo>
                    <a:pt x="226" y="71"/>
                    <a:pt x="226" y="71"/>
                    <a:pt x="226" y="71"/>
                  </a:cubicBezTo>
                  <a:cubicBezTo>
                    <a:pt x="206" y="85"/>
                    <a:pt x="180" y="100"/>
                    <a:pt x="156" y="112"/>
                  </a:cubicBezTo>
                  <a:cubicBezTo>
                    <a:pt x="156" y="191"/>
                    <a:pt x="156" y="191"/>
                    <a:pt x="156" y="191"/>
                  </a:cubicBezTo>
                  <a:cubicBezTo>
                    <a:pt x="156" y="204"/>
                    <a:pt x="157" y="207"/>
                    <a:pt x="168" y="207"/>
                  </a:cubicBezTo>
                  <a:lnTo>
                    <a:pt x="203" y="2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" name="Freeform 28"/>
            <p:cNvSpPr>
              <a:spLocks noEditPoints="1"/>
            </p:cNvSpPr>
            <p:nvPr/>
          </p:nvSpPr>
          <p:spPr bwMode="auto">
            <a:xfrm>
              <a:off x="20638" y="2647950"/>
              <a:ext cx="427038" cy="441325"/>
            </a:xfrm>
            <a:custGeom>
              <a:avLst/>
              <a:gdLst>
                <a:gd name="T0" fmla="*/ 227 w 227"/>
                <a:gd name="T1" fmla="*/ 118 h 234"/>
                <a:gd name="T2" fmla="*/ 192 w 227"/>
                <a:gd name="T3" fmla="*/ 118 h 234"/>
                <a:gd name="T4" fmla="*/ 192 w 227"/>
                <a:gd name="T5" fmla="*/ 210 h 234"/>
                <a:gd name="T6" fmla="*/ 180 w 227"/>
                <a:gd name="T7" fmla="*/ 230 h 234"/>
                <a:gd name="T8" fmla="*/ 132 w 227"/>
                <a:gd name="T9" fmla="*/ 234 h 234"/>
                <a:gd name="T10" fmla="*/ 125 w 227"/>
                <a:gd name="T11" fmla="*/ 215 h 234"/>
                <a:gd name="T12" fmla="*/ 167 w 227"/>
                <a:gd name="T13" fmla="*/ 216 h 234"/>
                <a:gd name="T14" fmla="*/ 173 w 227"/>
                <a:gd name="T15" fmla="*/ 210 h 234"/>
                <a:gd name="T16" fmla="*/ 173 w 227"/>
                <a:gd name="T17" fmla="*/ 118 h 234"/>
                <a:gd name="T18" fmla="*/ 0 w 227"/>
                <a:gd name="T19" fmla="*/ 118 h 234"/>
                <a:gd name="T20" fmla="*/ 0 w 227"/>
                <a:gd name="T21" fmla="*/ 101 h 234"/>
                <a:gd name="T22" fmla="*/ 227 w 227"/>
                <a:gd name="T23" fmla="*/ 101 h 234"/>
                <a:gd name="T24" fmla="*/ 227 w 227"/>
                <a:gd name="T25" fmla="*/ 118 h 234"/>
                <a:gd name="T26" fmla="*/ 197 w 227"/>
                <a:gd name="T27" fmla="*/ 98 h 234"/>
                <a:gd name="T28" fmla="*/ 107 w 227"/>
                <a:gd name="T29" fmla="*/ 61 h 234"/>
                <a:gd name="T30" fmla="*/ 18 w 227"/>
                <a:gd name="T31" fmla="*/ 99 h 234"/>
                <a:gd name="T32" fmla="*/ 9 w 227"/>
                <a:gd name="T33" fmla="*/ 84 h 234"/>
                <a:gd name="T34" fmla="*/ 98 w 227"/>
                <a:gd name="T35" fmla="*/ 41 h 234"/>
                <a:gd name="T36" fmla="*/ 13 w 227"/>
                <a:gd name="T37" fmla="*/ 41 h 234"/>
                <a:gd name="T38" fmla="*/ 13 w 227"/>
                <a:gd name="T39" fmla="*/ 24 h 234"/>
                <a:gd name="T40" fmla="*/ 103 w 227"/>
                <a:gd name="T41" fmla="*/ 24 h 234"/>
                <a:gd name="T42" fmla="*/ 107 w 227"/>
                <a:gd name="T43" fmla="*/ 0 h 234"/>
                <a:gd name="T44" fmla="*/ 126 w 227"/>
                <a:gd name="T45" fmla="*/ 0 h 234"/>
                <a:gd name="T46" fmla="*/ 123 w 227"/>
                <a:gd name="T47" fmla="*/ 24 h 234"/>
                <a:gd name="T48" fmla="*/ 215 w 227"/>
                <a:gd name="T49" fmla="*/ 24 h 234"/>
                <a:gd name="T50" fmla="*/ 215 w 227"/>
                <a:gd name="T51" fmla="*/ 41 h 234"/>
                <a:gd name="T52" fmla="*/ 118 w 227"/>
                <a:gd name="T53" fmla="*/ 41 h 234"/>
                <a:gd name="T54" fmla="*/ 116 w 227"/>
                <a:gd name="T55" fmla="*/ 47 h 234"/>
                <a:gd name="T56" fmla="*/ 211 w 227"/>
                <a:gd name="T57" fmla="*/ 85 h 234"/>
                <a:gd name="T58" fmla="*/ 197 w 227"/>
                <a:gd name="T59" fmla="*/ 98 h 234"/>
                <a:gd name="T60" fmla="*/ 45 w 227"/>
                <a:gd name="T61" fmla="*/ 204 h 234"/>
                <a:gd name="T62" fmla="*/ 45 w 227"/>
                <a:gd name="T63" fmla="*/ 221 h 234"/>
                <a:gd name="T64" fmla="*/ 27 w 227"/>
                <a:gd name="T65" fmla="*/ 221 h 234"/>
                <a:gd name="T66" fmla="*/ 27 w 227"/>
                <a:gd name="T67" fmla="*/ 138 h 234"/>
                <a:gd name="T68" fmla="*/ 128 w 227"/>
                <a:gd name="T69" fmla="*/ 138 h 234"/>
                <a:gd name="T70" fmla="*/ 128 w 227"/>
                <a:gd name="T71" fmla="*/ 204 h 234"/>
                <a:gd name="T72" fmla="*/ 45 w 227"/>
                <a:gd name="T73" fmla="*/ 204 h 234"/>
                <a:gd name="T74" fmla="*/ 45 w 227"/>
                <a:gd name="T75" fmla="*/ 154 h 234"/>
                <a:gd name="T76" fmla="*/ 45 w 227"/>
                <a:gd name="T77" fmla="*/ 189 h 234"/>
                <a:gd name="T78" fmla="*/ 110 w 227"/>
                <a:gd name="T79" fmla="*/ 189 h 234"/>
                <a:gd name="T80" fmla="*/ 110 w 227"/>
                <a:gd name="T81" fmla="*/ 154 h 234"/>
                <a:gd name="T82" fmla="*/ 45 w 227"/>
                <a:gd name="T83" fmla="*/ 15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27" h="234">
                  <a:moveTo>
                    <a:pt x="227" y="118"/>
                  </a:moveTo>
                  <a:cubicBezTo>
                    <a:pt x="192" y="118"/>
                    <a:pt x="192" y="118"/>
                    <a:pt x="192" y="118"/>
                  </a:cubicBezTo>
                  <a:cubicBezTo>
                    <a:pt x="192" y="210"/>
                    <a:pt x="192" y="210"/>
                    <a:pt x="192" y="210"/>
                  </a:cubicBezTo>
                  <a:cubicBezTo>
                    <a:pt x="192" y="222"/>
                    <a:pt x="189" y="227"/>
                    <a:pt x="180" y="230"/>
                  </a:cubicBezTo>
                  <a:cubicBezTo>
                    <a:pt x="171" y="233"/>
                    <a:pt x="155" y="234"/>
                    <a:pt x="132" y="234"/>
                  </a:cubicBezTo>
                  <a:cubicBezTo>
                    <a:pt x="131" y="228"/>
                    <a:pt x="127" y="221"/>
                    <a:pt x="125" y="215"/>
                  </a:cubicBezTo>
                  <a:cubicBezTo>
                    <a:pt x="144" y="216"/>
                    <a:pt x="162" y="216"/>
                    <a:pt x="167" y="216"/>
                  </a:cubicBezTo>
                  <a:cubicBezTo>
                    <a:pt x="172" y="215"/>
                    <a:pt x="173" y="214"/>
                    <a:pt x="173" y="210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227" y="101"/>
                    <a:pt x="227" y="101"/>
                    <a:pt x="227" y="101"/>
                  </a:cubicBezTo>
                  <a:lnTo>
                    <a:pt x="227" y="118"/>
                  </a:lnTo>
                  <a:close/>
                  <a:moveTo>
                    <a:pt x="197" y="98"/>
                  </a:moveTo>
                  <a:cubicBezTo>
                    <a:pt x="176" y="88"/>
                    <a:pt x="139" y="72"/>
                    <a:pt x="107" y="61"/>
                  </a:cubicBezTo>
                  <a:cubicBezTo>
                    <a:pt x="92" y="80"/>
                    <a:pt x="65" y="92"/>
                    <a:pt x="18" y="99"/>
                  </a:cubicBezTo>
                  <a:cubicBezTo>
                    <a:pt x="16" y="95"/>
                    <a:pt x="12" y="88"/>
                    <a:pt x="9" y="84"/>
                  </a:cubicBezTo>
                  <a:cubicBezTo>
                    <a:pt x="63" y="77"/>
                    <a:pt x="87" y="64"/>
                    <a:pt x="98" y="41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17"/>
                    <a:pt x="106" y="9"/>
                    <a:pt x="107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5" y="9"/>
                    <a:pt x="124" y="17"/>
                    <a:pt x="123" y="24"/>
                  </a:cubicBezTo>
                  <a:cubicBezTo>
                    <a:pt x="215" y="24"/>
                    <a:pt x="215" y="24"/>
                    <a:pt x="215" y="24"/>
                  </a:cubicBezTo>
                  <a:cubicBezTo>
                    <a:pt x="215" y="41"/>
                    <a:pt x="215" y="41"/>
                    <a:pt x="215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7" y="43"/>
                    <a:pt x="116" y="45"/>
                    <a:pt x="116" y="47"/>
                  </a:cubicBezTo>
                  <a:cubicBezTo>
                    <a:pt x="148" y="58"/>
                    <a:pt x="188" y="74"/>
                    <a:pt x="211" y="85"/>
                  </a:cubicBezTo>
                  <a:lnTo>
                    <a:pt x="197" y="98"/>
                  </a:lnTo>
                  <a:close/>
                  <a:moveTo>
                    <a:pt x="45" y="204"/>
                  </a:moveTo>
                  <a:cubicBezTo>
                    <a:pt x="45" y="221"/>
                    <a:pt x="45" y="221"/>
                    <a:pt x="45" y="221"/>
                  </a:cubicBezTo>
                  <a:cubicBezTo>
                    <a:pt x="27" y="221"/>
                    <a:pt x="27" y="221"/>
                    <a:pt x="27" y="221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8" y="204"/>
                    <a:pt x="128" y="204"/>
                    <a:pt x="128" y="204"/>
                  </a:cubicBezTo>
                  <a:lnTo>
                    <a:pt x="45" y="204"/>
                  </a:lnTo>
                  <a:close/>
                  <a:moveTo>
                    <a:pt x="45" y="154"/>
                  </a:moveTo>
                  <a:cubicBezTo>
                    <a:pt x="45" y="189"/>
                    <a:pt x="45" y="189"/>
                    <a:pt x="45" y="189"/>
                  </a:cubicBezTo>
                  <a:cubicBezTo>
                    <a:pt x="110" y="189"/>
                    <a:pt x="110" y="189"/>
                    <a:pt x="110" y="189"/>
                  </a:cubicBezTo>
                  <a:cubicBezTo>
                    <a:pt x="110" y="154"/>
                    <a:pt x="110" y="154"/>
                    <a:pt x="110" y="154"/>
                  </a:cubicBezTo>
                  <a:lnTo>
                    <a:pt x="45" y="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" name="Freeform 29"/>
            <p:cNvSpPr>
              <a:spLocks noEditPoints="1"/>
            </p:cNvSpPr>
            <p:nvPr/>
          </p:nvSpPr>
          <p:spPr bwMode="auto">
            <a:xfrm>
              <a:off x="496888" y="2647950"/>
              <a:ext cx="434975" cy="438150"/>
            </a:xfrm>
            <a:custGeom>
              <a:avLst/>
              <a:gdLst>
                <a:gd name="T0" fmla="*/ 88 w 231"/>
                <a:gd name="T1" fmla="*/ 54 h 233"/>
                <a:gd name="T2" fmla="*/ 66 w 231"/>
                <a:gd name="T3" fmla="*/ 165 h 233"/>
                <a:gd name="T4" fmla="*/ 92 w 231"/>
                <a:gd name="T5" fmla="*/ 188 h 233"/>
                <a:gd name="T6" fmla="*/ 80 w 231"/>
                <a:gd name="T7" fmla="*/ 202 h 233"/>
                <a:gd name="T8" fmla="*/ 58 w 231"/>
                <a:gd name="T9" fmla="*/ 181 h 233"/>
                <a:gd name="T10" fmla="*/ 11 w 231"/>
                <a:gd name="T11" fmla="*/ 233 h 233"/>
                <a:gd name="T12" fmla="*/ 0 w 231"/>
                <a:gd name="T13" fmla="*/ 218 h 233"/>
                <a:gd name="T14" fmla="*/ 44 w 231"/>
                <a:gd name="T15" fmla="*/ 169 h 233"/>
                <a:gd name="T16" fmla="*/ 6 w 231"/>
                <a:gd name="T17" fmla="*/ 139 h 233"/>
                <a:gd name="T18" fmla="*/ 24 w 231"/>
                <a:gd name="T19" fmla="*/ 70 h 233"/>
                <a:gd name="T20" fmla="*/ 0 w 231"/>
                <a:gd name="T21" fmla="*/ 70 h 233"/>
                <a:gd name="T22" fmla="*/ 0 w 231"/>
                <a:gd name="T23" fmla="*/ 53 h 233"/>
                <a:gd name="T24" fmla="*/ 28 w 231"/>
                <a:gd name="T25" fmla="*/ 53 h 233"/>
                <a:gd name="T26" fmla="*/ 36 w 231"/>
                <a:gd name="T27" fmla="*/ 0 h 233"/>
                <a:gd name="T28" fmla="*/ 54 w 231"/>
                <a:gd name="T29" fmla="*/ 2 h 233"/>
                <a:gd name="T30" fmla="*/ 45 w 231"/>
                <a:gd name="T31" fmla="*/ 53 h 233"/>
                <a:gd name="T32" fmla="*/ 74 w 231"/>
                <a:gd name="T33" fmla="*/ 53 h 233"/>
                <a:gd name="T34" fmla="*/ 77 w 231"/>
                <a:gd name="T35" fmla="*/ 52 h 233"/>
                <a:gd name="T36" fmla="*/ 88 w 231"/>
                <a:gd name="T37" fmla="*/ 54 h 233"/>
                <a:gd name="T38" fmla="*/ 42 w 231"/>
                <a:gd name="T39" fmla="*/ 70 h 233"/>
                <a:gd name="T40" fmla="*/ 26 w 231"/>
                <a:gd name="T41" fmla="*/ 133 h 233"/>
                <a:gd name="T42" fmla="*/ 52 w 231"/>
                <a:gd name="T43" fmla="*/ 153 h 233"/>
                <a:gd name="T44" fmla="*/ 70 w 231"/>
                <a:gd name="T45" fmla="*/ 70 h 233"/>
                <a:gd name="T46" fmla="*/ 42 w 231"/>
                <a:gd name="T47" fmla="*/ 70 h 233"/>
                <a:gd name="T48" fmla="*/ 219 w 231"/>
                <a:gd name="T49" fmla="*/ 130 h 233"/>
                <a:gd name="T50" fmla="*/ 91 w 231"/>
                <a:gd name="T51" fmla="*/ 233 h 233"/>
                <a:gd name="T52" fmla="*/ 80 w 231"/>
                <a:gd name="T53" fmla="*/ 216 h 233"/>
                <a:gd name="T54" fmla="*/ 202 w 231"/>
                <a:gd name="T55" fmla="*/ 125 h 233"/>
                <a:gd name="T56" fmla="*/ 219 w 231"/>
                <a:gd name="T57" fmla="*/ 130 h 233"/>
                <a:gd name="T58" fmla="*/ 133 w 231"/>
                <a:gd name="T59" fmla="*/ 47 h 233"/>
                <a:gd name="T60" fmla="*/ 112 w 231"/>
                <a:gd name="T61" fmla="*/ 128 h 233"/>
                <a:gd name="T62" fmla="*/ 96 w 231"/>
                <a:gd name="T63" fmla="*/ 120 h 233"/>
                <a:gd name="T64" fmla="*/ 116 w 231"/>
                <a:gd name="T65" fmla="*/ 44 h 233"/>
                <a:gd name="T66" fmla="*/ 133 w 231"/>
                <a:gd name="T67" fmla="*/ 47 h 233"/>
                <a:gd name="T68" fmla="*/ 169 w 231"/>
                <a:gd name="T69" fmla="*/ 157 h 233"/>
                <a:gd name="T70" fmla="*/ 151 w 231"/>
                <a:gd name="T71" fmla="*/ 157 h 233"/>
                <a:gd name="T72" fmla="*/ 151 w 231"/>
                <a:gd name="T73" fmla="*/ 0 h 233"/>
                <a:gd name="T74" fmla="*/ 169 w 231"/>
                <a:gd name="T75" fmla="*/ 0 h 233"/>
                <a:gd name="T76" fmla="*/ 169 w 231"/>
                <a:gd name="T77" fmla="*/ 157 h 233"/>
                <a:gd name="T78" fmla="*/ 214 w 231"/>
                <a:gd name="T79" fmla="*/ 115 h 233"/>
                <a:gd name="T80" fmla="*/ 186 w 231"/>
                <a:gd name="T81" fmla="*/ 46 h 233"/>
                <a:gd name="T82" fmla="*/ 202 w 231"/>
                <a:gd name="T83" fmla="*/ 40 h 233"/>
                <a:gd name="T84" fmla="*/ 231 w 231"/>
                <a:gd name="T85" fmla="*/ 109 h 233"/>
                <a:gd name="T86" fmla="*/ 214 w 231"/>
                <a:gd name="T87" fmla="*/ 115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1" h="233">
                  <a:moveTo>
                    <a:pt x="88" y="54"/>
                  </a:moveTo>
                  <a:cubicBezTo>
                    <a:pt x="85" y="100"/>
                    <a:pt x="78" y="137"/>
                    <a:pt x="66" y="165"/>
                  </a:cubicBezTo>
                  <a:cubicBezTo>
                    <a:pt x="76" y="173"/>
                    <a:pt x="86" y="181"/>
                    <a:pt x="92" y="188"/>
                  </a:cubicBezTo>
                  <a:cubicBezTo>
                    <a:pt x="80" y="202"/>
                    <a:pt x="80" y="202"/>
                    <a:pt x="80" y="202"/>
                  </a:cubicBezTo>
                  <a:cubicBezTo>
                    <a:pt x="74" y="197"/>
                    <a:pt x="67" y="189"/>
                    <a:pt x="58" y="181"/>
                  </a:cubicBezTo>
                  <a:cubicBezTo>
                    <a:pt x="46" y="204"/>
                    <a:pt x="30" y="221"/>
                    <a:pt x="11" y="233"/>
                  </a:cubicBezTo>
                  <a:cubicBezTo>
                    <a:pt x="9" y="228"/>
                    <a:pt x="4" y="222"/>
                    <a:pt x="0" y="218"/>
                  </a:cubicBezTo>
                  <a:cubicBezTo>
                    <a:pt x="18" y="208"/>
                    <a:pt x="33" y="192"/>
                    <a:pt x="44" y="169"/>
                  </a:cubicBezTo>
                  <a:cubicBezTo>
                    <a:pt x="32" y="159"/>
                    <a:pt x="18" y="148"/>
                    <a:pt x="6" y="139"/>
                  </a:cubicBezTo>
                  <a:cubicBezTo>
                    <a:pt x="12" y="121"/>
                    <a:pt x="18" y="96"/>
                    <a:pt x="24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31" y="34"/>
                    <a:pt x="34" y="17"/>
                    <a:pt x="36" y="0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2" y="18"/>
                    <a:pt x="49" y="35"/>
                    <a:pt x="45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7" y="52"/>
                    <a:pt x="77" y="52"/>
                    <a:pt x="77" y="52"/>
                  </a:cubicBezTo>
                  <a:lnTo>
                    <a:pt x="88" y="54"/>
                  </a:lnTo>
                  <a:close/>
                  <a:moveTo>
                    <a:pt x="42" y="70"/>
                  </a:moveTo>
                  <a:cubicBezTo>
                    <a:pt x="36" y="93"/>
                    <a:pt x="31" y="115"/>
                    <a:pt x="26" y="133"/>
                  </a:cubicBezTo>
                  <a:cubicBezTo>
                    <a:pt x="34" y="140"/>
                    <a:pt x="43" y="146"/>
                    <a:pt x="52" y="153"/>
                  </a:cubicBezTo>
                  <a:cubicBezTo>
                    <a:pt x="60" y="130"/>
                    <a:pt x="67" y="103"/>
                    <a:pt x="70" y="70"/>
                  </a:cubicBezTo>
                  <a:lnTo>
                    <a:pt x="42" y="70"/>
                  </a:lnTo>
                  <a:close/>
                  <a:moveTo>
                    <a:pt x="219" y="130"/>
                  </a:moveTo>
                  <a:cubicBezTo>
                    <a:pt x="200" y="185"/>
                    <a:pt x="157" y="217"/>
                    <a:pt x="91" y="233"/>
                  </a:cubicBezTo>
                  <a:cubicBezTo>
                    <a:pt x="89" y="227"/>
                    <a:pt x="84" y="220"/>
                    <a:pt x="80" y="216"/>
                  </a:cubicBezTo>
                  <a:cubicBezTo>
                    <a:pt x="143" y="203"/>
                    <a:pt x="183" y="174"/>
                    <a:pt x="202" y="125"/>
                  </a:cubicBezTo>
                  <a:lnTo>
                    <a:pt x="219" y="130"/>
                  </a:lnTo>
                  <a:close/>
                  <a:moveTo>
                    <a:pt x="133" y="47"/>
                  </a:moveTo>
                  <a:cubicBezTo>
                    <a:pt x="129" y="77"/>
                    <a:pt x="121" y="108"/>
                    <a:pt x="112" y="128"/>
                  </a:cubicBezTo>
                  <a:cubicBezTo>
                    <a:pt x="108" y="126"/>
                    <a:pt x="100" y="122"/>
                    <a:pt x="96" y="120"/>
                  </a:cubicBezTo>
                  <a:cubicBezTo>
                    <a:pt x="105" y="101"/>
                    <a:pt x="112" y="72"/>
                    <a:pt x="116" y="44"/>
                  </a:cubicBezTo>
                  <a:lnTo>
                    <a:pt x="133" y="47"/>
                  </a:lnTo>
                  <a:close/>
                  <a:moveTo>
                    <a:pt x="169" y="157"/>
                  </a:moveTo>
                  <a:cubicBezTo>
                    <a:pt x="151" y="157"/>
                    <a:pt x="151" y="157"/>
                    <a:pt x="151" y="157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69" y="0"/>
                    <a:pt x="169" y="0"/>
                    <a:pt x="169" y="0"/>
                  </a:cubicBezTo>
                  <a:lnTo>
                    <a:pt x="169" y="157"/>
                  </a:lnTo>
                  <a:close/>
                  <a:moveTo>
                    <a:pt x="214" y="115"/>
                  </a:moveTo>
                  <a:cubicBezTo>
                    <a:pt x="209" y="96"/>
                    <a:pt x="198" y="67"/>
                    <a:pt x="186" y="46"/>
                  </a:cubicBezTo>
                  <a:cubicBezTo>
                    <a:pt x="202" y="40"/>
                    <a:pt x="202" y="40"/>
                    <a:pt x="202" y="40"/>
                  </a:cubicBezTo>
                  <a:cubicBezTo>
                    <a:pt x="214" y="62"/>
                    <a:pt x="226" y="90"/>
                    <a:pt x="231" y="109"/>
                  </a:cubicBezTo>
                  <a:lnTo>
                    <a:pt x="214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四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文本框 17"/>
          <p:cNvSpPr txBox="1"/>
          <p:nvPr userDrawn="1"/>
        </p:nvSpPr>
        <p:spPr>
          <a:xfrm>
            <a:off x="836421" y="6233666"/>
            <a:ext cx="39110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anose="05000000000000000000" pitchFamily="2" charset="2"/>
              <a:buNone/>
            </a:pPr>
            <a:r>
              <a:rPr lang="en-US" altLang="zh-CN" sz="1000" dirty="0">
                <a:solidFill>
                  <a:srgbClr val="323232"/>
                </a:solidFill>
                <a:latin typeface="Verdana" panose="020B0604030504040204" pitchFamily="34" charset="0"/>
              </a:rPr>
              <a:t>Copyright © 2020 Neusoft Corporation</a:t>
            </a:r>
          </a:p>
        </p:txBody>
      </p:sp>
      <p:sp>
        <p:nvSpPr>
          <p:cNvPr id="20" name="矩形 19"/>
          <p:cNvSpPr/>
          <p:nvPr userDrawn="1"/>
        </p:nvSpPr>
        <p:spPr>
          <a:xfrm>
            <a:off x="836421" y="6030540"/>
            <a:ext cx="69762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东软秘密</a:t>
            </a:r>
          </a:p>
        </p:txBody>
      </p:sp>
      <p:sp>
        <p:nvSpPr>
          <p:cNvPr id="21" name="文本占位符 126"/>
          <p:cNvSpPr>
            <a:spLocks noGrp="1"/>
          </p:cNvSpPr>
          <p:nvPr>
            <p:ph type="body" sz="quarter" idx="19" hasCustomPrompt="1"/>
          </p:nvPr>
        </p:nvSpPr>
        <p:spPr>
          <a:xfrm>
            <a:off x="855662" y="5469496"/>
            <a:ext cx="8580438" cy="339645"/>
          </a:xfrm>
          <a:prstGeom prst="rect">
            <a:avLst/>
          </a:prstGeom>
          <a:noFill/>
        </p:spPr>
        <p:txBody>
          <a:bodyPr wrap="square" tIns="468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演讲人                </a:t>
            </a:r>
            <a:r>
              <a:rPr lang="en-US" altLang="zh-CN" dirty="0"/>
              <a:t>16pt </a:t>
            </a:r>
            <a:r>
              <a:rPr lang="zh-CN" altLang="en-US" dirty="0"/>
              <a:t>微软雅黑</a:t>
            </a:r>
          </a:p>
        </p:txBody>
      </p:sp>
      <p:sp>
        <p:nvSpPr>
          <p:cNvPr id="22" name="图片占位符 30"/>
          <p:cNvSpPr>
            <a:spLocks noGrp="1"/>
          </p:cNvSpPr>
          <p:nvPr>
            <p:ph type="pic" sz="quarter" idx="17"/>
          </p:nvPr>
        </p:nvSpPr>
        <p:spPr>
          <a:xfrm>
            <a:off x="897499" y="0"/>
            <a:ext cx="6927595" cy="3440888"/>
          </a:xfrm>
          <a:custGeom>
            <a:avLst/>
            <a:gdLst>
              <a:gd name="connsiteX0" fmla="*/ 5151490 w 7697585"/>
              <a:gd name="connsiteY0" fmla="*/ 0 h 2622900"/>
              <a:gd name="connsiteX1" fmla="*/ 7618189 w 7697585"/>
              <a:gd name="connsiteY1" fmla="*/ 0 h 2622900"/>
              <a:gd name="connsiteX2" fmla="*/ 7697585 w 7697585"/>
              <a:gd name="connsiteY2" fmla="*/ 0 h 2622900"/>
              <a:gd name="connsiteX3" fmla="*/ 7697585 w 7697585"/>
              <a:gd name="connsiteY3" fmla="*/ 1143928 h 2622900"/>
              <a:gd name="connsiteX4" fmla="*/ 7697584 w 7697585"/>
              <a:gd name="connsiteY4" fmla="*/ 1143928 h 2622900"/>
              <a:gd name="connsiteX5" fmla="*/ 7697584 w 7697585"/>
              <a:gd name="connsiteY5" fmla="*/ 2543505 h 2622900"/>
              <a:gd name="connsiteX6" fmla="*/ 7618189 w 7697585"/>
              <a:gd name="connsiteY6" fmla="*/ 2622900 h 2622900"/>
              <a:gd name="connsiteX7" fmla="*/ 5151490 w 7697585"/>
              <a:gd name="connsiteY7" fmla="*/ 2622900 h 2622900"/>
              <a:gd name="connsiteX8" fmla="*/ 2581562 w 7697585"/>
              <a:gd name="connsiteY8" fmla="*/ 0 h 2622900"/>
              <a:gd name="connsiteX9" fmla="*/ 5105771 w 7697585"/>
              <a:gd name="connsiteY9" fmla="*/ 0 h 2622900"/>
              <a:gd name="connsiteX10" fmla="*/ 5105771 w 7697585"/>
              <a:gd name="connsiteY10" fmla="*/ 2622900 h 2622900"/>
              <a:gd name="connsiteX11" fmla="*/ 2581562 w 7697585"/>
              <a:gd name="connsiteY11" fmla="*/ 2622900 h 2622900"/>
              <a:gd name="connsiteX12" fmla="*/ 1 w 7697585"/>
              <a:gd name="connsiteY12" fmla="*/ 0 h 2622900"/>
              <a:gd name="connsiteX13" fmla="*/ 79395 w 7697585"/>
              <a:gd name="connsiteY13" fmla="*/ 0 h 2622900"/>
              <a:gd name="connsiteX14" fmla="*/ 2535843 w 7697585"/>
              <a:gd name="connsiteY14" fmla="*/ 0 h 2622900"/>
              <a:gd name="connsiteX15" fmla="*/ 2535843 w 7697585"/>
              <a:gd name="connsiteY15" fmla="*/ 2622900 h 2622900"/>
              <a:gd name="connsiteX16" fmla="*/ 79395 w 7697585"/>
              <a:gd name="connsiteY16" fmla="*/ 2622900 h 2622900"/>
              <a:gd name="connsiteX17" fmla="*/ 0 w 7697585"/>
              <a:gd name="connsiteY17" fmla="*/ 2543505 h 2622900"/>
              <a:gd name="connsiteX18" fmla="*/ 0 w 7697585"/>
              <a:gd name="connsiteY18" fmla="*/ 79395 h 2622900"/>
              <a:gd name="connsiteX19" fmla="*/ 1 w 7697585"/>
              <a:gd name="connsiteY19" fmla="*/ 79390 h 2622900"/>
              <a:gd name="connsiteX0-1" fmla="*/ 5151490 w 7697585"/>
              <a:gd name="connsiteY0-2" fmla="*/ 0 h 2622900"/>
              <a:gd name="connsiteX1-3" fmla="*/ 7618189 w 7697585"/>
              <a:gd name="connsiteY1-4" fmla="*/ 0 h 2622900"/>
              <a:gd name="connsiteX2-5" fmla="*/ 7697585 w 7697585"/>
              <a:gd name="connsiteY2-6" fmla="*/ 1143928 h 2622900"/>
              <a:gd name="connsiteX3-7" fmla="*/ 7697584 w 7697585"/>
              <a:gd name="connsiteY3-8" fmla="*/ 1143928 h 2622900"/>
              <a:gd name="connsiteX4-9" fmla="*/ 7697584 w 7697585"/>
              <a:gd name="connsiteY4-10" fmla="*/ 2543505 h 2622900"/>
              <a:gd name="connsiteX5-11" fmla="*/ 7618189 w 7697585"/>
              <a:gd name="connsiteY5-12" fmla="*/ 2622900 h 2622900"/>
              <a:gd name="connsiteX6-13" fmla="*/ 5151490 w 7697585"/>
              <a:gd name="connsiteY6-14" fmla="*/ 2622900 h 2622900"/>
              <a:gd name="connsiteX7-15" fmla="*/ 5151490 w 7697585"/>
              <a:gd name="connsiteY7-16" fmla="*/ 0 h 2622900"/>
              <a:gd name="connsiteX8-17" fmla="*/ 2581562 w 7697585"/>
              <a:gd name="connsiteY8-18" fmla="*/ 0 h 2622900"/>
              <a:gd name="connsiteX9-19" fmla="*/ 5105771 w 7697585"/>
              <a:gd name="connsiteY9-20" fmla="*/ 0 h 2622900"/>
              <a:gd name="connsiteX10-21" fmla="*/ 5105771 w 7697585"/>
              <a:gd name="connsiteY10-22" fmla="*/ 2622900 h 2622900"/>
              <a:gd name="connsiteX11-23" fmla="*/ 2581562 w 7697585"/>
              <a:gd name="connsiteY11-24" fmla="*/ 2622900 h 2622900"/>
              <a:gd name="connsiteX12-25" fmla="*/ 2581562 w 7697585"/>
              <a:gd name="connsiteY12-26" fmla="*/ 0 h 2622900"/>
              <a:gd name="connsiteX13-27" fmla="*/ 1 w 7697585"/>
              <a:gd name="connsiteY13-28" fmla="*/ 0 h 2622900"/>
              <a:gd name="connsiteX14-29" fmla="*/ 79395 w 7697585"/>
              <a:gd name="connsiteY14-30" fmla="*/ 0 h 2622900"/>
              <a:gd name="connsiteX15-31" fmla="*/ 2535843 w 7697585"/>
              <a:gd name="connsiteY15-32" fmla="*/ 0 h 2622900"/>
              <a:gd name="connsiteX16-33" fmla="*/ 2535843 w 7697585"/>
              <a:gd name="connsiteY16-34" fmla="*/ 2622900 h 2622900"/>
              <a:gd name="connsiteX17-35" fmla="*/ 79395 w 7697585"/>
              <a:gd name="connsiteY17-36" fmla="*/ 2622900 h 2622900"/>
              <a:gd name="connsiteX18-37" fmla="*/ 0 w 7697585"/>
              <a:gd name="connsiteY18-38" fmla="*/ 2543505 h 2622900"/>
              <a:gd name="connsiteX19-39" fmla="*/ 0 w 7697585"/>
              <a:gd name="connsiteY19-40" fmla="*/ 79395 h 2622900"/>
              <a:gd name="connsiteX20" fmla="*/ 1 w 7697585"/>
              <a:gd name="connsiteY20" fmla="*/ 79390 h 2622900"/>
              <a:gd name="connsiteX21" fmla="*/ 1 w 7697585"/>
              <a:gd name="connsiteY21" fmla="*/ 0 h 2622900"/>
              <a:gd name="connsiteX0-41" fmla="*/ 5151490 w 7697585"/>
              <a:gd name="connsiteY0-42" fmla="*/ 0 h 2622900"/>
              <a:gd name="connsiteX1-43" fmla="*/ 7697585 w 7697585"/>
              <a:gd name="connsiteY1-44" fmla="*/ 1143928 h 2622900"/>
              <a:gd name="connsiteX2-45" fmla="*/ 7697584 w 7697585"/>
              <a:gd name="connsiteY2-46" fmla="*/ 1143928 h 2622900"/>
              <a:gd name="connsiteX3-47" fmla="*/ 7697584 w 7697585"/>
              <a:gd name="connsiteY3-48" fmla="*/ 2543505 h 2622900"/>
              <a:gd name="connsiteX4-49" fmla="*/ 7618189 w 7697585"/>
              <a:gd name="connsiteY4-50" fmla="*/ 2622900 h 2622900"/>
              <a:gd name="connsiteX5-51" fmla="*/ 5151490 w 7697585"/>
              <a:gd name="connsiteY5-52" fmla="*/ 2622900 h 2622900"/>
              <a:gd name="connsiteX6-53" fmla="*/ 5151490 w 7697585"/>
              <a:gd name="connsiteY6-54" fmla="*/ 0 h 2622900"/>
              <a:gd name="connsiteX7-55" fmla="*/ 2581562 w 7697585"/>
              <a:gd name="connsiteY7-56" fmla="*/ 0 h 2622900"/>
              <a:gd name="connsiteX8-57" fmla="*/ 5105771 w 7697585"/>
              <a:gd name="connsiteY8-58" fmla="*/ 0 h 2622900"/>
              <a:gd name="connsiteX9-59" fmla="*/ 5105771 w 7697585"/>
              <a:gd name="connsiteY9-60" fmla="*/ 2622900 h 2622900"/>
              <a:gd name="connsiteX10-61" fmla="*/ 2581562 w 7697585"/>
              <a:gd name="connsiteY10-62" fmla="*/ 2622900 h 2622900"/>
              <a:gd name="connsiteX11-63" fmla="*/ 2581562 w 7697585"/>
              <a:gd name="connsiteY11-64" fmla="*/ 0 h 2622900"/>
              <a:gd name="connsiteX12-65" fmla="*/ 1 w 7697585"/>
              <a:gd name="connsiteY12-66" fmla="*/ 0 h 2622900"/>
              <a:gd name="connsiteX13-67" fmla="*/ 79395 w 7697585"/>
              <a:gd name="connsiteY13-68" fmla="*/ 0 h 2622900"/>
              <a:gd name="connsiteX14-69" fmla="*/ 2535843 w 7697585"/>
              <a:gd name="connsiteY14-70" fmla="*/ 0 h 2622900"/>
              <a:gd name="connsiteX15-71" fmla="*/ 2535843 w 7697585"/>
              <a:gd name="connsiteY15-72" fmla="*/ 2622900 h 2622900"/>
              <a:gd name="connsiteX16-73" fmla="*/ 79395 w 7697585"/>
              <a:gd name="connsiteY16-74" fmla="*/ 2622900 h 2622900"/>
              <a:gd name="connsiteX17-75" fmla="*/ 0 w 7697585"/>
              <a:gd name="connsiteY17-76" fmla="*/ 2543505 h 2622900"/>
              <a:gd name="connsiteX18-77" fmla="*/ 0 w 7697585"/>
              <a:gd name="connsiteY18-78" fmla="*/ 79395 h 2622900"/>
              <a:gd name="connsiteX19-79" fmla="*/ 1 w 7697585"/>
              <a:gd name="connsiteY19-80" fmla="*/ 79390 h 2622900"/>
              <a:gd name="connsiteX20-81" fmla="*/ 1 w 7697585"/>
              <a:gd name="connsiteY20-82" fmla="*/ 0 h 2622900"/>
              <a:gd name="connsiteX0-83" fmla="*/ 5151490 w 7697585"/>
              <a:gd name="connsiteY0-84" fmla="*/ 0 h 2622900"/>
              <a:gd name="connsiteX1-85" fmla="*/ 7697585 w 7697585"/>
              <a:gd name="connsiteY1-86" fmla="*/ 1143928 h 2622900"/>
              <a:gd name="connsiteX2-87" fmla="*/ 7697584 w 7697585"/>
              <a:gd name="connsiteY2-88" fmla="*/ 2543505 h 2622900"/>
              <a:gd name="connsiteX3-89" fmla="*/ 7618189 w 7697585"/>
              <a:gd name="connsiteY3-90" fmla="*/ 2622900 h 2622900"/>
              <a:gd name="connsiteX4-91" fmla="*/ 5151490 w 7697585"/>
              <a:gd name="connsiteY4-92" fmla="*/ 2622900 h 2622900"/>
              <a:gd name="connsiteX5-93" fmla="*/ 5151490 w 7697585"/>
              <a:gd name="connsiteY5-94" fmla="*/ 0 h 2622900"/>
              <a:gd name="connsiteX6-95" fmla="*/ 2581562 w 7697585"/>
              <a:gd name="connsiteY6-96" fmla="*/ 0 h 2622900"/>
              <a:gd name="connsiteX7-97" fmla="*/ 5105771 w 7697585"/>
              <a:gd name="connsiteY7-98" fmla="*/ 0 h 2622900"/>
              <a:gd name="connsiteX8-99" fmla="*/ 5105771 w 7697585"/>
              <a:gd name="connsiteY8-100" fmla="*/ 2622900 h 2622900"/>
              <a:gd name="connsiteX9-101" fmla="*/ 2581562 w 7697585"/>
              <a:gd name="connsiteY9-102" fmla="*/ 2622900 h 2622900"/>
              <a:gd name="connsiteX10-103" fmla="*/ 2581562 w 7697585"/>
              <a:gd name="connsiteY10-104" fmla="*/ 0 h 2622900"/>
              <a:gd name="connsiteX11-105" fmla="*/ 1 w 7697585"/>
              <a:gd name="connsiteY11-106" fmla="*/ 0 h 2622900"/>
              <a:gd name="connsiteX12-107" fmla="*/ 79395 w 7697585"/>
              <a:gd name="connsiteY12-108" fmla="*/ 0 h 2622900"/>
              <a:gd name="connsiteX13-109" fmla="*/ 2535843 w 7697585"/>
              <a:gd name="connsiteY13-110" fmla="*/ 0 h 2622900"/>
              <a:gd name="connsiteX14-111" fmla="*/ 2535843 w 7697585"/>
              <a:gd name="connsiteY14-112" fmla="*/ 2622900 h 2622900"/>
              <a:gd name="connsiteX15-113" fmla="*/ 79395 w 7697585"/>
              <a:gd name="connsiteY15-114" fmla="*/ 2622900 h 2622900"/>
              <a:gd name="connsiteX16-115" fmla="*/ 0 w 7697585"/>
              <a:gd name="connsiteY16-116" fmla="*/ 2543505 h 2622900"/>
              <a:gd name="connsiteX17-117" fmla="*/ 0 w 7697585"/>
              <a:gd name="connsiteY17-118" fmla="*/ 79395 h 2622900"/>
              <a:gd name="connsiteX18-119" fmla="*/ 1 w 7697585"/>
              <a:gd name="connsiteY18-120" fmla="*/ 79390 h 2622900"/>
              <a:gd name="connsiteX19-121" fmla="*/ 1 w 7697585"/>
              <a:gd name="connsiteY19-122" fmla="*/ 0 h 2622900"/>
              <a:gd name="connsiteX0-123" fmla="*/ 5151490 w 7697584"/>
              <a:gd name="connsiteY0-124" fmla="*/ 0 h 2622900"/>
              <a:gd name="connsiteX1-125" fmla="*/ 7697584 w 7697584"/>
              <a:gd name="connsiteY1-126" fmla="*/ 2543505 h 2622900"/>
              <a:gd name="connsiteX2-127" fmla="*/ 7618189 w 7697584"/>
              <a:gd name="connsiteY2-128" fmla="*/ 2622900 h 2622900"/>
              <a:gd name="connsiteX3-129" fmla="*/ 5151490 w 7697584"/>
              <a:gd name="connsiteY3-130" fmla="*/ 2622900 h 2622900"/>
              <a:gd name="connsiteX4-131" fmla="*/ 5151490 w 7697584"/>
              <a:gd name="connsiteY4-132" fmla="*/ 0 h 2622900"/>
              <a:gd name="connsiteX5-133" fmla="*/ 2581562 w 7697584"/>
              <a:gd name="connsiteY5-134" fmla="*/ 0 h 2622900"/>
              <a:gd name="connsiteX6-135" fmla="*/ 5105771 w 7697584"/>
              <a:gd name="connsiteY6-136" fmla="*/ 0 h 2622900"/>
              <a:gd name="connsiteX7-137" fmla="*/ 5105771 w 7697584"/>
              <a:gd name="connsiteY7-138" fmla="*/ 2622900 h 2622900"/>
              <a:gd name="connsiteX8-139" fmla="*/ 2581562 w 7697584"/>
              <a:gd name="connsiteY8-140" fmla="*/ 2622900 h 2622900"/>
              <a:gd name="connsiteX9-141" fmla="*/ 2581562 w 7697584"/>
              <a:gd name="connsiteY9-142" fmla="*/ 0 h 2622900"/>
              <a:gd name="connsiteX10-143" fmla="*/ 1 w 7697584"/>
              <a:gd name="connsiteY10-144" fmla="*/ 0 h 2622900"/>
              <a:gd name="connsiteX11-145" fmla="*/ 79395 w 7697584"/>
              <a:gd name="connsiteY11-146" fmla="*/ 0 h 2622900"/>
              <a:gd name="connsiteX12-147" fmla="*/ 2535843 w 7697584"/>
              <a:gd name="connsiteY12-148" fmla="*/ 0 h 2622900"/>
              <a:gd name="connsiteX13-149" fmla="*/ 2535843 w 7697584"/>
              <a:gd name="connsiteY13-150" fmla="*/ 2622900 h 2622900"/>
              <a:gd name="connsiteX14-151" fmla="*/ 79395 w 7697584"/>
              <a:gd name="connsiteY14-152" fmla="*/ 2622900 h 2622900"/>
              <a:gd name="connsiteX15-153" fmla="*/ 0 w 7697584"/>
              <a:gd name="connsiteY15-154" fmla="*/ 2543505 h 2622900"/>
              <a:gd name="connsiteX16-155" fmla="*/ 0 w 7697584"/>
              <a:gd name="connsiteY16-156" fmla="*/ 79395 h 2622900"/>
              <a:gd name="connsiteX17-157" fmla="*/ 1 w 7697584"/>
              <a:gd name="connsiteY17-158" fmla="*/ 79390 h 2622900"/>
              <a:gd name="connsiteX18-159" fmla="*/ 1 w 7697584"/>
              <a:gd name="connsiteY18-160" fmla="*/ 0 h 2622900"/>
              <a:gd name="connsiteX0-161" fmla="*/ 5151490 w 7618189"/>
              <a:gd name="connsiteY0-162" fmla="*/ 0 h 2622900"/>
              <a:gd name="connsiteX1-163" fmla="*/ 7618189 w 7618189"/>
              <a:gd name="connsiteY1-164" fmla="*/ 2622900 h 2622900"/>
              <a:gd name="connsiteX2-165" fmla="*/ 5151490 w 7618189"/>
              <a:gd name="connsiteY2-166" fmla="*/ 2622900 h 2622900"/>
              <a:gd name="connsiteX3-167" fmla="*/ 5151490 w 7618189"/>
              <a:gd name="connsiteY3-168" fmla="*/ 0 h 2622900"/>
              <a:gd name="connsiteX4-169" fmla="*/ 2581562 w 7618189"/>
              <a:gd name="connsiteY4-170" fmla="*/ 0 h 2622900"/>
              <a:gd name="connsiteX5-171" fmla="*/ 5105771 w 7618189"/>
              <a:gd name="connsiteY5-172" fmla="*/ 0 h 2622900"/>
              <a:gd name="connsiteX6-173" fmla="*/ 5105771 w 7618189"/>
              <a:gd name="connsiteY6-174" fmla="*/ 2622900 h 2622900"/>
              <a:gd name="connsiteX7-175" fmla="*/ 2581562 w 7618189"/>
              <a:gd name="connsiteY7-176" fmla="*/ 2622900 h 2622900"/>
              <a:gd name="connsiteX8-177" fmla="*/ 2581562 w 7618189"/>
              <a:gd name="connsiteY8-178" fmla="*/ 0 h 2622900"/>
              <a:gd name="connsiteX9-179" fmla="*/ 1 w 7618189"/>
              <a:gd name="connsiteY9-180" fmla="*/ 0 h 2622900"/>
              <a:gd name="connsiteX10-181" fmla="*/ 79395 w 7618189"/>
              <a:gd name="connsiteY10-182" fmla="*/ 0 h 2622900"/>
              <a:gd name="connsiteX11-183" fmla="*/ 2535843 w 7618189"/>
              <a:gd name="connsiteY11-184" fmla="*/ 0 h 2622900"/>
              <a:gd name="connsiteX12-185" fmla="*/ 2535843 w 7618189"/>
              <a:gd name="connsiteY12-186" fmla="*/ 2622900 h 2622900"/>
              <a:gd name="connsiteX13-187" fmla="*/ 79395 w 7618189"/>
              <a:gd name="connsiteY13-188" fmla="*/ 2622900 h 2622900"/>
              <a:gd name="connsiteX14-189" fmla="*/ 0 w 7618189"/>
              <a:gd name="connsiteY14-190" fmla="*/ 2543505 h 2622900"/>
              <a:gd name="connsiteX15-191" fmla="*/ 0 w 7618189"/>
              <a:gd name="connsiteY15-192" fmla="*/ 79395 h 2622900"/>
              <a:gd name="connsiteX16-193" fmla="*/ 1 w 7618189"/>
              <a:gd name="connsiteY16-194" fmla="*/ 79390 h 2622900"/>
              <a:gd name="connsiteX17-195" fmla="*/ 1 w 7618189"/>
              <a:gd name="connsiteY17-196" fmla="*/ 0 h 2622900"/>
              <a:gd name="connsiteX0-197" fmla="*/ 5151490 w 5151490"/>
              <a:gd name="connsiteY0-198" fmla="*/ 0 h 2622900"/>
              <a:gd name="connsiteX1-199" fmla="*/ 5151490 w 5151490"/>
              <a:gd name="connsiteY1-200" fmla="*/ 2622900 h 2622900"/>
              <a:gd name="connsiteX2-201" fmla="*/ 5151490 w 5151490"/>
              <a:gd name="connsiteY2-202" fmla="*/ 0 h 2622900"/>
              <a:gd name="connsiteX3-203" fmla="*/ 2581562 w 5151490"/>
              <a:gd name="connsiteY3-204" fmla="*/ 0 h 2622900"/>
              <a:gd name="connsiteX4-205" fmla="*/ 5105771 w 5151490"/>
              <a:gd name="connsiteY4-206" fmla="*/ 0 h 2622900"/>
              <a:gd name="connsiteX5-207" fmla="*/ 5105771 w 5151490"/>
              <a:gd name="connsiteY5-208" fmla="*/ 2622900 h 2622900"/>
              <a:gd name="connsiteX6-209" fmla="*/ 2581562 w 5151490"/>
              <a:gd name="connsiteY6-210" fmla="*/ 2622900 h 2622900"/>
              <a:gd name="connsiteX7-211" fmla="*/ 2581562 w 5151490"/>
              <a:gd name="connsiteY7-212" fmla="*/ 0 h 2622900"/>
              <a:gd name="connsiteX8-213" fmla="*/ 1 w 5151490"/>
              <a:gd name="connsiteY8-214" fmla="*/ 0 h 2622900"/>
              <a:gd name="connsiteX9-215" fmla="*/ 79395 w 5151490"/>
              <a:gd name="connsiteY9-216" fmla="*/ 0 h 2622900"/>
              <a:gd name="connsiteX10-217" fmla="*/ 2535843 w 5151490"/>
              <a:gd name="connsiteY10-218" fmla="*/ 0 h 2622900"/>
              <a:gd name="connsiteX11-219" fmla="*/ 2535843 w 5151490"/>
              <a:gd name="connsiteY11-220" fmla="*/ 2622900 h 2622900"/>
              <a:gd name="connsiteX12-221" fmla="*/ 79395 w 5151490"/>
              <a:gd name="connsiteY12-222" fmla="*/ 2622900 h 2622900"/>
              <a:gd name="connsiteX13-223" fmla="*/ 0 w 5151490"/>
              <a:gd name="connsiteY13-224" fmla="*/ 2543505 h 2622900"/>
              <a:gd name="connsiteX14-225" fmla="*/ 0 w 5151490"/>
              <a:gd name="connsiteY14-226" fmla="*/ 79395 h 2622900"/>
              <a:gd name="connsiteX15-227" fmla="*/ 1 w 5151490"/>
              <a:gd name="connsiteY15-228" fmla="*/ 79390 h 2622900"/>
              <a:gd name="connsiteX16-229" fmla="*/ 1 w 5151490"/>
              <a:gd name="connsiteY16-230" fmla="*/ 0 h 2622900"/>
              <a:gd name="connsiteX0-231" fmla="*/ 2581562 w 5105771"/>
              <a:gd name="connsiteY0-232" fmla="*/ 0 h 2622900"/>
              <a:gd name="connsiteX1-233" fmla="*/ 5105771 w 5105771"/>
              <a:gd name="connsiteY1-234" fmla="*/ 0 h 2622900"/>
              <a:gd name="connsiteX2-235" fmla="*/ 5105771 w 5105771"/>
              <a:gd name="connsiteY2-236" fmla="*/ 2622900 h 2622900"/>
              <a:gd name="connsiteX3-237" fmla="*/ 2581562 w 5105771"/>
              <a:gd name="connsiteY3-238" fmla="*/ 2622900 h 2622900"/>
              <a:gd name="connsiteX4-239" fmla="*/ 2581562 w 5105771"/>
              <a:gd name="connsiteY4-240" fmla="*/ 0 h 2622900"/>
              <a:gd name="connsiteX5-241" fmla="*/ 1 w 5105771"/>
              <a:gd name="connsiteY5-242" fmla="*/ 0 h 2622900"/>
              <a:gd name="connsiteX6-243" fmla="*/ 79395 w 5105771"/>
              <a:gd name="connsiteY6-244" fmla="*/ 0 h 2622900"/>
              <a:gd name="connsiteX7-245" fmla="*/ 2535843 w 5105771"/>
              <a:gd name="connsiteY7-246" fmla="*/ 0 h 2622900"/>
              <a:gd name="connsiteX8-247" fmla="*/ 2535843 w 5105771"/>
              <a:gd name="connsiteY8-248" fmla="*/ 2622900 h 2622900"/>
              <a:gd name="connsiteX9-249" fmla="*/ 79395 w 5105771"/>
              <a:gd name="connsiteY9-250" fmla="*/ 2622900 h 2622900"/>
              <a:gd name="connsiteX10-251" fmla="*/ 0 w 5105771"/>
              <a:gd name="connsiteY10-252" fmla="*/ 2543505 h 2622900"/>
              <a:gd name="connsiteX11-253" fmla="*/ 0 w 5105771"/>
              <a:gd name="connsiteY11-254" fmla="*/ 79395 h 2622900"/>
              <a:gd name="connsiteX12-255" fmla="*/ 1 w 5105771"/>
              <a:gd name="connsiteY12-256" fmla="*/ 79390 h 2622900"/>
              <a:gd name="connsiteX13-257" fmla="*/ 1 w 5105771"/>
              <a:gd name="connsiteY13-258" fmla="*/ 0 h 2622900"/>
              <a:gd name="connsiteX0-259" fmla="*/ 2581562 w 5105771"/>
              <a:gd name="connsiteY0-260" fmla="*/ 0 h 2622900"/>
              <a:gd name="connsiteX1-261" fmla="*/ 5105771 w 5105771"/>
              <a:gd name="connsiteY1-262" fmla="*/ 0 h 2622900"/>
              <a:gd name="connsiteX2-263" fmla="*/ 5105771 w 5105771"/>
              <a:gd name="connsiteY2-264" fmla="*/ 2622900 h 2622900"/>
              <a:gd name="connsiteX3-265" fmla="*/ 2581562 w 5105771"/>
              <a:gd name="connsiteY3-266" fmla="*/ 2622900 h 2622900"/>
              <a:gd name="connsiteX4-267" fmla="*/ 2581562 w 5105771"/>
              <a:gd name="connsiteY4-268" fmla="*/ 0 h 2622900"/>
              <a:gd name="connsiteX5-269" fmla="*/ 1 w 5105771"/>
              <a:gd name="connsiteY5-270" fmla="*/ 0 h 2622900"/>
              <a:gd name="connsiteX6-271" fmla="*/ 79395 w 5105771"/>
              <a:gd name="connsiteY6-272" fmla="*/ 0 h 2622900"/>
              <a:gd name="connsiteX7-273" fmla="*/ 2535843 w 5105771"/>
              <a:gd name="connsiteY7-274" fmla="*/ 0 h 2622900"/>
              <a:gd name="connsiteX8-275" fmla="*/ 2535843 w 5105771"/>
              <a:gd name="connsiteY8-276" fmla="*/ 2622900 h 2622900"/>
              <a:gd name="connsiteX9-277" fmla="*/ 79395 w 5105771"/>
              <a:gd name="connsiteY9-278" fmla="*/ 2622900 h 2622900"/>
              <a:gd name="connsiteX10-279" fmla="*/ 0 w 5105771"/>
              <a:gd name="connsiteY10-280" fmla="*/ 2479975 h 2622900"/>
              <a:gd name="connsiteX11-281" fmla="*/ 0 w 5105771"/>
              <a:gd name="connsiteY11-282" fmla="*/ 79395 h 2622900"/>
              <a:gd name="connsiteX12-283" fmla="*/ 1 w 5105771"/>
              <a:gd name="connsiteY12-284" fmla="*/ 79390 h 2622900"/>
              <a:gd name="connsiteX13-285" fmla="*/ 1 w 5105771"/>
              <a:gd name="connsiteY13-286" fmla="*/ 0 h 2622900"/>
              <a:gd name="connsiteX0-287" fmla="*/ 2581562 w 5105771"/>
              <a:gd name="connsiteY0-288" fmla="*/ 0 h 2622900"/>
              <a:gd name="connsiteX1-289" fmla="*/ 5105771 w 5105771"/>
              <a:gd name="connsiteY1-290" fmla="*/ 0 h 2622900"/>
              <a:gd name="connsiteX2-291" fmla="*/ 5105771 w 5105771"/>
              <a:gd name="connsiteY2-292" fmla="*/ 2622900 h 2622900"/>
              <a:gd name="connsiteX3-293" fmla="*/ 2581562 w 5105771"/>
              <a:gd name="connsiteY3-294" fmla="*/ 2622900 h 2622900"/>
              <a:gd name="connsiteX4-295" fmla="*/ 2581562 w 5105771"/>
              <a:gd name="connsiteY4-296" fmla="*/ 0 h 2622900"/>
              <a:gd name="connsiteX5-297" fmla="*/ 1 w 5105771"/>
              <a:gd name="connsiteY5-298" fmla="*/ 0 h 2622900"/>
              <a:gd name="connsiteX6-299" fmla="*/ 79395 w 5105771"/>
              <a:gd name="connsiteY6-300" fmla="*/ 0 h 2622900"/>
              <a:gd name="connsiteX7-301" fmla="*/ 2535843 w 5105771"/>
              <a:gd name="connsiteY7-302" fmla="*/ 0 h 2622900"/>
              <a:gd name="connsiteX8-303" fmla="*/ 2535843 w 5105771"/>
              <a:gd name="connsiteY8-304" fmla="*/ 2622900 h 2622900"/>
              <a:gd name="connsiteX9-305" fmla="*/ 123271 w 5105771"/>
              <a:gd name="connsiteY9-306" fmla="*/ 2622900 h 2622900"/>
              <a:gd name="connsiteX10-307" fmla="*/ 0 w 5105771"/>
              <a:gd name="connsiteY10-308" fmla="*/ 2479975 h 2622900"/>
              <a:gd name="connsiteX11-309" fmla="*/ 0 w 5105771"/>
              <a:gd name="connsiteY11-310" fmla="*/ 79395 h 2622900"/>
              <a:gd name="connsiteX12-311" fmla="*/ 1 w 5105771"/>
              <a:gd name="connsiteY12-312" fmla="*/ 79390 h 2622900"/>
              <a:gd name="connsiteX13-313" fmla="*/ 1 w 5105771"/>
              <a:gd name="connsiteY13-314" fmla="*/ 0 h 2622900"/>
              <a:gd name="connsiteX0-315" fmla="*/ 2581562 w 5105771"/>
              <a:gd name="connsiteY0-316" fmla="*/ 0 h 2622900"/>
              <a:gd name="connsiteX1-317" fmla="*/ 5105771 w 5105771"/>
              <a:gd name="connsiteY1-318" fmla="*/ 0 h 2622900"/>
              <a:gd name="connsiteX2-319" fmla="*/ 5105771 w 5105771"/>
              <a:gd name="connsiteY2-320" fmla="*/ 2622900 h 2622900"/>
              <a:gd name="connsiteX3-321" fmla="*/ 2581562 w 5105771"/>
              <a:gd name="connsiteY3-322" fmla="*/ 2622900 h 2622900"/>
              <a:gd name="connsiteX4-323" fmla="*/ 2581562 w 5105771"/>
              <a:gd name="connsiteY4-324" fmla="*/ 0 h 2622900"/>
              <a:gd name="connsiteX5-325" fmla="*/ 1 w 5105771"/>
              <a:gd name="connsiteY5-326" fmla="*/ 0 h 2622900"/>
              <a:gd name="connsiteX6-327" fmla="*/ 79395 w 5105771"/>
              <a:gd name="connsiteY6-328" fmla="*/ 0 h 2622900"/>
              <a:gd name="connsiteX7-329" fmla="*/ 2535843 w 5105771"/>
              <a:gd name="connsiteY7-330" fmla="*/ 0 h 2622900"/>
              <a:gd name="connsiteX8-331" fmla="*/ 2535843 w 5105771"/>
              <a:gd name="connsiteY8-332" fmla="*/ 2622900 h 2622900"/>
              <a:gd name="connsiteX9-333" fmla="*/ 123271 w 5105771"/>
              <a:gd name="connsiteY9-334" fmla="*/ 2622900 h 2622900"/>
              <a:gd name="connsiteX10-335" fmla="*/ 0 w 5105771"/>
              <a:gd name="connsiteY10-336" fmla="*/ 2479975 h 2622900"/>
              <a:gd name="connsiteX11-337" fmla="*/ 0 w 5105771"/>
              <a:gd name="connsiteY11-338" fmla="*/ 79395 h 2622900"/>
              <a:gd name="connsiteX12-339" fmla="*/ 1 w 5105771"/>
              <a:gd name="connsiteY12-340" fmla="*/ 79390 h 2622900"/>
              <a:gd name="connsiteX13-341" fmla="*/ 1 w 5105771"/>
              <a:gd name="connsiteY13-342" fmla="*/ 0 h 2622900"/>
              <a:gd name="connsiteX0-343" fmla="*/ 2684436 w 5208645"/>
              <a:gd name="connsiteY0-344" fmla="*/ 0 h 2643383"/>
              <a:gd name="connsiteX1-345" fmla="*/ 5208645 w 5208645"/>
              <a:gd name="connsiteY1-346" fmla="*/ 0 h 2643383"/>
              <a:gd name="connsiteX2-347" fmla="*/ 5208645 w 5208645"/>
              <a:gd name="connsiteY2-348" fmla="*/ 2622900 h 2643383"/>
              <a:gd name="connsiteX3-349" fmla="*/ 2684436 w 5208645"/>
              <a:gd name="connsiteY3-350" fmla="*/ 2622900 h 2643383"/>
              <a:gd name="connsiteX4-351" fmla="*/ 2684436 w 5208645"/>
              <a:gd name="connsiteY4-352" fmla="*/ 0 h 2643383"/>
              <a:gd name="connsiteX5-353" fmla="*/ 102875 w 5208645"/>
              <a:gd name="connsiteY5-354" fmla="*/ 0 h 2643383"/>
              <a:gd name="connsiteX6-355" fmla="*/ 182269 w 5208645"/>
              <a:gd name="connsiteY6-356" fmla="*/ 0 h 2643383"/>
              <a:gd name="connsiteX7-357" fmla="*/ 2638717 w 5208645"/>
              <a:gd name="connsiteY7-358" fmla="*/ 0 h 2643383"/>
              <a:gd name="connsiteX8-359" fmla="*/ 2638717 w 5208645"/>
              <a:gd name="connsiteY8-360" fmla="*/ 2622900 h 2643383"/>
              <a:gd name="connsiteX9-361" fmla="*/ 226145 w 5208645"/>
              <a:gd name="connsiteY9-362" fmla="*/ 2622900 h 2643383"/>
              <a:gd name="connsiteX10-363" fmla="*/ 102874 w 5208645"/>
              <a:gd name="connsiteY10-364" fmla="*/ 2346379 h 2643383"/>
              <a:gd name="connsiteX11-365" fmla="*/ 102874 w 5208645"/>
              <a:gd name="connsiteY11-366" fmla="*/ 79395 h 2643383"/>
              <a:gd name="connsiteX12-367" fmla="*/ 102875 w 5208645"/>
              <a:gd name="connsiteY12-368" fmla="*/ 79390 h 2643383"/>
              <a:gd name="connsiteX13-369" fmla="*/ 102875 w 5208645"/>
              <a:gd name="connsiteY13-370" fmla="*/ 0 h 2643383"/>
              <a:gd name="connsiteX0-371" fmla="*/ 2684436 w 5208645"/>
              <a:gd name="connsiteY0-372" fmla="*/ 0 h 2643383"/>
              <a:gd name="connsiteX1-373" fmla="*/ 5208645 w 5208645"/>
              <a:gd name="connsiteY1-374" fmla="*/ 0 h 2643383"/>
              <a:gd name="connsiteX2-375" fmla="*/ 5208645 w 5208645"/>
              <a:gd name="connsiteY2-376" fmla="*/ 2622900 h 2643383"/>
              <a:gd name="connsiteX3-377" fmla="*/ 2684436 w 5208645"/>
              <a:gd name="connsiteY3-378" fmla="*/ 2622900 h 2643383"/>
              <a:gd name="connsiteX4-379" fmla="*/ 2684436 w 5208645"/>
              <a:gd name="connsiteY4-380" fmla="*/ 0 h 2643383"/>
              <a:gd name="connsiteX5-381" fmla="*/ 102875 w 5208645"/>
              <a:gd name="connsiteY5-382" fmla="*/ 0 h 2643383"/>
              <a:gd name="connsiteX6-383" fmla="*/ 182269 w 5208645"/>
              <a:gd name="connsiteY6-384" fmla="*/ 0 h 2643383"/>
              <a:gd name="connsiteX7-385" fmla="*/ 2638717 w 5208645"/>
              <a:gd name="connsiteY7-386" fmla="*/ 0 h 2643383"/>
              <a:gd name="connsiteX8-387" fmla="*/ 2638717 w 5208645"/>
              <a:gd name="connsiteY8-388" fmla="*/ 2622900 h 2643383"/>
              <a:gd name="connsiteX9-389" fmla="*/ 226145 w 5208645"/>
              <a:gd name="connsiteY9-390" fmla="*/ 2622900 h 2643383"/>
              <a:gd name="connsiteX10-391" fmla="*/ 102874 w 5208645"/>
              <a:gd name="connsiteY10-392" fmla="*/ 2346379 h 2643383"/>
              <a:gd name="connsiteX11-393" fmla="*/ 102874 w 5208645"/>
              <a:gd name="connsiteY11-394" fmla="*/ 79395 h 2643383"/>
              <a:gd name="connsiteX12-395" fmla="*/ 102875 w 5208645"/>
              <a:gd name="connsiteY12-396" fmla="*/ 79390 h 2643383"/>
              <a:gd name="connsiteX13-397" fmla="*/ 102875 w 5208645"/>
              <a:gd name="connsiteY13-398" fmla="*/ 0 h 2643383"/>
              <a:gd name="connsiteX0-399" fmla="*/ 2684436 w 5208645"/>
              <a:gd name="connsiteY0-400" fmla="*/ 0 h 2622900"/>
              <a:gd name="connsiteX1-401" fmla="*/ 5208645 w 5208645"/>
              <a:gd name="connsiteY1-402" fmla="*/ 0 h 2622900"/>
              <a:gd name="connsiteX2-403" fmla="*/ 5208645 w 5208645"/>
              <a:gd name="connsiteY2-404" fmla="*/ 2622900 h 2622900"/>
              <a:gd name="connsiteX3-405" fmla="*/ 2684436 w 5208645"/>
              <a:gd name="connsiteY3-406" fmla="*/ 2622900 h 2622900"/>
              <a:gd name="connsiteX4-407" fmla="*/ 2684436 w 5208645"/>
              <a:gd name="connsiteY4-408" fmla="*/ 0 h 2622900"/>
              <a:gd name="connsiteX5-409" fmla="*/ 102875 w 5208645"/>
              <a:gd name="connsiteY5-410" fmla="*/ 0 h 2622900"/>
              <a:gd name="connsiteX6-411" fmla="*/ 182269 w 5208645"/>
              <a:gd name="connsiteY6-412" fmla="*/ 0 h 2622900"/>
              <a:gd name="connsiteX7-413" fmla="*/ 2638717 w 5208645"/>
              <a:gd name="connsiteY7-414" fmla="*/ 0 h 2622900"/>
              <a:gd name="connsiteX8-415" fmla="*/ 2638717 w 5208645"/>
              <a:gd name="connsiteY8-416" fmla="*/ 2622900 h 2622900"/>
              <a:gd name="connsiteX9-417" fmla="*/ 226145 w 5208645"/>
              <a:gd name="connsiteY9-418" fmla="*/ 2622900 h 2622900"/>
              <a:gd name="connsiteX10-419" fmla="*/ 102874 w 5208645"/>
              <a:gd name="connsiteY10-420" fmla="*/ 2346379 h 2622900"/>
              <a:gd name="connsiteX11-421" fmla="*/ 102874 w 5208645"/>
              <a:gd name="connsiteY11-422" fmla="*/ 79395 h 2622900"/>
              <a:gd name="connsiteX12-423" fmla="*/ 102875 w 5208645"/>
              <a:gd name="connsiteY12-424" fmla="*/ 79390 h 2622900"/>
              <a:gd name="connsiteX13-425" fmla="*/ 102875 w 5208645"/>
              <a:gd name="connsiteY13-426" fmla="*/ 0 h 2622900"/>
              <a:gd name="connsiteX0-427" fmla="*/ 2582362 w 5106571"/>
              <a:gd name="connsiteY0-428" fmla="*/ 0 h 2622900"/>
              <a:gd name="connsiteX1-429" fmla="*/ 5106571 w 5106571"/>
              <a:gd name="connsiteY1-430" fmla="*/ 0 h 2622900"/>
              <a:gd name="connsiteX2-431" fmla="*/ 5106571 w 5106571"/>
              <a:gd name="connsiteY2-432" fmla="*/ 2622900 h 2622900"/>
              <a:gd name="connsiteX3-433" fmla="*/ 2582362 w 5106571"/>
              <a:gd name="connsiteY3-434" fmla="*/ 2622900 h 2622900"/>
              <a:gd name="connsiteX4-435" fmla="*/ 2582362 w 5106571"/>
              <a:gd name="connsiteY4-436" fmla="*/ 0 h 2622900"/>
              <a:gd name="connsiteX5-437" fmla="*/ 801 w 5106571"/>
              <a:gd name="connsiteY5-438" fmla="*/ 0 h 2622900"/>
              <a:gd name="connsiteX6-439" fmla="*/ 80195 w 5106571"/>
              <a:gd name="connsiteY6-440" fmla="*/ 0 h 2622900"/>
              <a:gd name="connsiteX7-441" fmla="*/ 2536643 w 5106571"/>
              <a:gd name="connsiteY7-442" fmla="*/ 0 h 2622900"/>
              <a:gd name="connsiteX8-443" fmla="*/ 2536643 w 5106571"/>
              <a:gd name="connsiteY8-444" fmla="*/ 2622900 h 2622900"/>
              <a:gd name="connsiteX9-445" fmla="*/ 124071 w 5106571"/>
              <a:gd name="connsiteY9-446" fmla="*/ 2622900 h 2622900"/>
              <a:gd name="connsiteX10-447" fmla="*/ 800 w 5106571"/>
              <a:gd name="connsiteY10-448" fmla="*/ 2346379 h 2622900"/>
              <a:gd name="connsiteX11-449" fmla="*/ 800 w 5106571"/>
              <a:gd name="connsiteY11-450" fmla="*/ 79395 h 2622900"/>
              <a:gd name="connsiteX12-451" fmla="*/ 801 w 5106571"/>
              <a:gd name="connsiteY12-452" fmla="*/ 79390 h 2622900"/>
              <a:gd name="connsiteX13-453" fmla="*/ 801 w 5106571"/>
              <a:gd name="connsiteY13-454" fmla="*/ 0 h 2622900"/>
              <a:gd name="connsiteX0-455" fmla="*/ 2581562 w 5105771"/>
              <a:gd name="connsiteY0-456" fmla="*/ 0 h 2622900"/>
              <a:gd name="connsiteX1-457" fmla="*/ 5105771 w 5105771"/>
              <a:gd name="connsiteY1-458" fmla="*/ 0 h 2622900"/>
              <a:gd name="connsiteX2-459" fmla="*/ 5105771 w 5105771"/>
              <a:gd name="connsiteY2-460" fmla="*/ 2622900 h 2622900"/>
              <a:gd name="connsiteX3-461" fmla="*/ 2581562 w 5105771"/>
              <a:gd name="connsiteY3-462" fmla="*/ 2622900 h 2622900"/>
              <a:gd name="connsiteX4-463" fmla="*/ 2581562 w 5105771"/>
              <a:gd name="connsiteY4-464" fmla="*/ 0 h 2622900"/>
              <a:gd name="connsiteX5-465" fmla="*/ 1 w 5105771"/>
              <a:gd name="connsiteY5-466" fmla="*/ 0 h 2622900"/>
              <a:gd name="connsiteX6-467" fmla="*/ 79395 w 5105771"/>
              <a:gd name="connsiteY6-468" fmla="*/ 0 h 2622900"/>
              <a:gd name="connsiteX7-469" fmla="*/ 2535843 w 5105771"/>
              <a:gd name="connsiteY7-470" fmla="*/ 0 h 2622900"/>
              <a:gd name="connsiteX8-471" fmla="*/ 2535843 w 5105771"/>
              <a:gd name="connsiteY8-472" fmla="*/ 2622900 h 2622900"/>
              <a:gd name="connsiteX9-473" fmla="*/ 165392 w 5105771"/>
              <a:gd name="connsiteY9-474" fmla="*/ 2622900 h 2622900"/>
              <a:gd name="connsiteX10-475" fmla="*/ 0 w 5105771"/>
              <a:gd name="connsiteY10-476" fmla="*/ 2346379 h 2622900"/>
              <a:gd name="connsiteX11-477" fmla="*/ 0 w 5105771"/>
              <a:gd name="connsiteY11-478" fmla="*/ 79395 h 2622900"/>
              <a:gd name="connsiteX12-479" fmla="*/ 1 w 5105771"/>
              <a:gd name="connsiteY12-480" fmla="*/ 79390 h 2622900"/>
              <a:gd name="connsiteX13-481" fmla="*/ 1 w 5105771"/>
              <a:gd name="connsiteY13-482" fmla="*/ 0 h 2622900"/>
              <a:gd name="connsiteX0-483" fmla="*/ 2581785 w 5105994"/>
              <a:gd name="connsiteY0-484" fmla="*/ 0 h 2622900"/>
              <a:gd name="connsiteX1-485" fmla="*/ 5105994 w 5105994"/>
              <a:gd name="connsiteY1-486" fmla="*/ 0 h 2622900"/>
              <a:gd name="connsiteX2-487" fmla="*/ 5105994 w 5105994"/>
              <a:gd name="connsiteY2-488" fmla="*/ 2622900 h 2622900"/>
              <a:gd name="connsiteX3-489" fmla="*/ 2581785 w 5105994"/>
              <a:gd name="connsiteY3-490" fmla="*/ 2622900 h 2622900"/>
              <a:gd name="connsiteX4-491" fmla="*/ 2581785 w 5105994"/>
              <a:gd name="connsiteY4-492" fmla="*/ 0 h 2622900"/>
              <a:gd name="connsiteX5-493" fmla="*/ 224 w 5105994"/>
              <a:gd name="connsiteY5-494" fmla="*/ 0 h 2622900"/>
              <a:gd name="connsiteX6-495" fmla="*/ 79618 w 5105994"/>
              <a:gd name="connsiteY6-496" fmla="*/ 0 h 2622900"/>
              <a:gd name="connsiteX7-497" fmla="*/ 2536066 w 5105994"/>
              <a:gd name="connsiteY7-498" fmla="*/ 0 h 2622900"/>
              <a:gd name="connsiteX8-499" fmla="*/ 2536066 w 5105994"/>
              <a:gd name="connsiteY8-500" fmla="*/ 2622900 h 2622900"/>
              <a:gd name="connsiteX9-501" fmla="*/ 165615 w 5105994"/>
              <a:gd name="connsiteY9-502" fmla="*/ 2622900 h 2622900"/>
              <a:gd name="connsiteX10-503" fmla="*/ 223 w 5105994"/>
              <a:gd name="connsiteY10-504" fmla="*/ 2346379 h 2622900"/>
              <a:gd name="connsiteX11-505" fmla="*/ 223 w 5105994"/>
              <a:gd name="connsiteY11-506" fmla="*/ 79395 h 2622900"/>
              <a:gd name="connsiteX12-507" fmla="*/ 224 w 5105994"/>
              <a:gd name="connsiteY12-508" fmla="*/ 79390 h 2622900"/>
              <a:gd name="connsiteX13-509" fmla="*/ 224 w 5105994"/>
              <a:gd name="connsiteY13-510" fmla="*/ 0 h 2622900"/>
              <a:gd name="connsiteX0-511" fmla="*/ 2581562 w 5105771"/>
              <a:gd name="connsiteY0-512" fmla="*/ 0 h 2622900"/>
              <a:gd name="connsiteX1-513" fmla="*/ 5105771 w 5105771"/>
              <a:gd name="connsiteY1-514" fmla="*/ 0 h 2622900"/>
              <a:gd name="connsiteX2-515" fmla="*/ 5105771 w 5105771"/>
              <a:gd name="connsiteY2-516" fmla="*/ 2622900 h 2622900"/>
              <a:gd name="connsiteX3-517" fmla="*/ 2581562 w 5105771"/>
              <a:gd name="connsiteY3-518" fmla="*/ 2622900 h 2622900"/>
              <a:gd name="connsiteX4-519" fmla="*/ 2581562 w 5105771"/>
              <a:gd name="connsiteY4-520" fmla="*/ 0 h 2622900"/>
              <a:gd name="connsiteX5-521" fmla="*/ 1 w 5105771"/>
              <a:gd name="connsiteY5-522" fmla="*/ 0 h 2622900"/>
              <a:gd name="connsiteX6-523" fmla="*/ 79395 w 5105771"/>
              <a:gd name="connsiteY6-524" fmla="*/ 0 h 2622900"/>
              <a:gd name="connsiteX7-525" fmla="*/ 2535843 w 5105771"/>
              <a:gd name="connsiteY7-526" fmla="*/ 0 h 2622900"/>
              <a:gd name="connsiteX8-527" fmla="*/ 2535843 w 5105771"/>
              <a:gd name="connsiteY8-528" fmla="*/ 2622900 h 2622900"/>
              <a:gd name="connsiteX9-529" fmla="*/ 198738 w 5105771"/>
              <a:gd name="connsiteY9-530" fmla="*/ 2622900 h 2622900"/>
              <a:gd name="connsiteX10-531" fmla="*/ 0 w 5105771"/>
              <a:gd name="connsiteY10-532" fmla="*/ 2346379 h 2622900"/>
              <a:gd name="connsiteX11-533" fmla="*/ 0 w 5105771"/>
              <a:gd name="connsiteY11-534" fmla="*/ 79395 h 2622900"/>
              <a:gd name="connsiteX12-535" fmla="*/ 1 w 5105771"/>
              <a:gd name="connsiteY12-536" fmla="*/ 79390 h 2622900"/>
              <a:gd name="connsiteX13-537" fmla="*/ 1 w 5105771"/>
              <a:gd name="connsiteY13-538" fmla="*/ 0 h 2622900"/>
              <a:gd name="connsiteX0-539" fmla="*/ 2581562 w 5105771"/>
              <a:gd name="connsiteY0-540" fmla="*/ 0 h 2622900"/>
              <a:gd name="connsiteX1-541" fmla="*/ 5105771 w 5105771"/>
              <a:gd name="connsiteY1-542" fmla="*/ 0 h 2622900"/>
              <a:gd name="connsiteX2-543" fmla="*/ 5105771 w 5105771"/>
              <a:gd name="connsiteY2-544" fmla="*/ 2622900 h 2622900"/>
              <a:gd name="connsiteX3-545" fmla="*/ 2581562 w 5105771"/>
              <a:gd name="connsiteY3-546" fmla="*/ 2622900 h 2622900"/>
              <a:gd name="connsiteX4-547" fmla="*/ 2581562 w 5105771"/>
              <a:gd name="connsiteY4-548" fmla="*/ 0 h 2622900"/>
              <a:gd name="connsiteX5-549" fmla="*/ 1 w 5105771"/>
              <a:gd name="connsiteY5-550" fmla="*/ 0 h 2622900"/>
              <a:gd name="connsiteX6-551" fmla="*/ 79395 w 5105771"/>
              <a:gd name="connsiteY6-552" fmla="*/ 0 h 2622900"/>
              <a:gd name="connsiteX7-553" fmla="*/ 2535843 w 5105771"/>
              <a:gd name="connsiteY7-554" fmla="*/ 0 h 2622900"/>
              <a:gd name="connsiteX8-555" fmla="*/ 2535843 w 5105771"/>
              <a:gd name="connsiteY8-556" fmla="*/ 2622900 h 2622900"/>
              <a:gd name="connsiteX9-557" fmla="*/ 198738 w 5105771"/>
              <a:gd name="connsiteY9-558" fmla="*/ 2622900 h 2622900"/>
              <a:gd name="connsiteX10-559" fmla="*/ 0 w 5105771"/>
              <a:gd name="connsiteY10-560" fmla="*/ 2346379 h 2622900"/>
              <a:gd name="connsiteX11-561" fmla="*/ 0 w 5105771"/>
              <a:gd name="connsiteY11-562" fmla="*/ 79395 h 2622900"/>
              <a:gd name="connsiteX12-563" fmla="*/ 1 w 5105771"/>
              <a:gd name="connsiteY12-564" fmla="*/ 79390 h 2622900"/>
              <a:gd name="connsiteX13-565" fmla="*/ 1 w 5105771"/>
              <a:gd name="connsiteY13-566" fmla="*/ 0 h 26229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  <a:cxn ang="0">
                <a:pos x="connsiteX11-23" y="connsiteY11-24"/>
              </a:cxn>
              <a:cxn ang="0">
                <a:pos x="connsiteX12-25" y="connsiteY12-26"/>
              </a:cxn>
              <a:cxn ang="0">
                <a:pos x="connsiteX13-27" y="connsiteY13-28"/>
              </a:cxn>
            </a:cxnLst>
            <a:rect l="l" t="t" r="r" b="b"/>
            <a:pathLst>
              <a:path w="5105771" h="2622900">
                <a:moveTo>
                  <a:pt x="2581562" y="0"/>
                </a:moveTo>
                <a:lnTo>
                  <a:pt x="5105771" y="0"/>
                </a:lnTo>
                <a:lnTo>
                  <a:pt x="5105771" y="2622900"/>
                </a:lnTo>
                <a:lnTo>
                  <a:pt x="2581562" y="2622900"/>
                </a:lnTo>
                <a:lnTo>
                  <a:pt x="2581562" y="0"/>
                </a:lnTo>
                <a:close/>
                <a:moveTo>
                  <a:pt x="1" y="0"/>
                </a:moveTo>
                <a:lnTo>
                  <a:pt x="79395" y="0"/>
                </a:lnTo>
                <a:lnTo>
                  <a:pt x="2535843" y="0"/>
                </a:lnTo>
                <a:lnTo>
                  <a:pt x="2535843" y="2622900"/>
                </a:lnTo>
                <a:lnTo>
                  <a:pt x="198738" y="2622900"/>
                </a:lnTo>
                <a:cubicBezTo>
                  <a:pt x="741" y="2619288"/>
                  <a:pt x="0" y="2390228"/>
                  <a:pt x="0" y="2346379"/>
                </a:cubicBezTo>
                <a:lnTo>
                  <a:pt x="0" y="79395"/>
                </a:lnTo>
                <a:cubicBezTo>
                  <a:pt x="0" y="79393"/>
                  <a:pt x="1" y="79392"/>
                  <a:pt x="1" y="79390"/>
                </a:cubicBezTo>
                <a:lnTo>
                  <a:pt x="1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3" name="任意多边形 22"/>
          <p:cNvSpPr/>
          <p:nvPr userDrawn="1"/>
        </p:nvSpPr>
        <p:spPr>
          <a:xfrm flipV="1">
            <a:off x="7888622" y="0"/>
            <a:ext cx="3443006" cy="3440888"/>
          </a:xfrm>
          <a:custGeom>
            <a:avLst/>
            <a:gdLst>
              <a:gd name="connsiteX0" fmla="*/ 0 w 2515238"/>
              <a:gd name="connsiteY0" fmla="*/ 0 h 2616731"/>
              <a:gd name="connsiteX1" fmla="*/ 2241386 w 2515238"/>
              <a:gd name="connsiteY1" fmla="*/ 0 h 2616731"/>
              <a:gd name="connsiteX2" fmla="*/ 2506771 w 2515238"/>
              <a:gd name="connsiteY2" fmla="*/ 333120 h 2616731"/>
              <a:gd name="connsiteX3" fmla="*/ 2515238 w 2515238"/>
              <a:gd name="connsiteY3" fmla="*/ 2616731 h 2616731"/>
              <a:gd name="connsiteX4" fmla="*/ 0 w 2515238"/>
              <a:gd name="connsiteY4" fmla="*/ 2616731 h 2616731"/>
              <a:gd name="connsiteX5" fmla="*/ 0 w 2515238"/>
              <a:gd name="connsiteY5" fmla="*/ 0 h 2616731"/>
              <a:gd name="connsiteX0-1" fmla="*/ 0 w 2515238"/>
              <a:gd name="connsiteY0-2" fmla="*/ 0 h 2616731"/>
              <a:gd name="connsiteX1-3" fmla="*/ 2241386 w 2515238"/>
              <a:gd name="connsiteY1-4" fmla="*/ 0 h 2616731"/>
              <a:gd name="connsiteX2-5" fmla="*/ 2509092 w 2515238"/>
              <a:gd name="connsiteY2-6" fmla="*/ 333120 h 2616731"/>
              <a:gd name="connsiteX3-7" fmla="*/ 2515238 w 2515238"/>
              <a:gd name="connsiteY3-8" fmla="*/ 2616731 h 2616731"/>
              <a:gd name="connsiteX4-9" fmla="*/ 0 w 2515238"/>
              <a:gd name="connsiteY4-10" fmla="*/ 2616731 h 2616731"/>
              <a:gd name="connsiteX5-11" fmla="*/ 0 w 2515238"/>
              <a:gd name="connsiteY5-12" fmla="*/ 0 h 2616731"/>
              <a:gd name="connsiteX0-13" fmla="*/ 0 w 2515238"/>
              <a:gd name="connsiteY0-14" fmla="*/ 0 h 2616731"/>
              <a:gd name="connsiteX1-15" fmla="*/ 2241386 w 2515238"/>
              <a:gd name="connsiteY1-16" fmla="*/ 0 h 2616731"/>
              <a:gd name="connsiteX2-17" fmla="*/ 2509092 w 2515238"/>
              <a:gd name="connsiteY2-18" fmla="*/ 333120 h 2616731"/>
              <a:gd name="connsiteX3-19" fmla="*/ 2515238 w 2515238"/>
              <a:gd name="connsiteY3-20" fmla="*/ 2616731 h 2616731"/>
              <a:gd name="connsiteX4-21" fmla="*/ 0 w 2515238"/>
              <a:gd name="connsiteY4-22" fmla="*/ 2616731 h 2616731"/>
              <a:gd name="connsiteX5-23" fmla="*/ 0 w 2515238"/>
              <a:gd name="connsiteY5-24" fmla="*/ 0 h 2616731"/>
              <a:gd name="connsiteX0-25" fmla="*/ 0 w 2518941"/>
              <a:gd name="connsiteY0-26" fmla="*/ 0 h 2616731"/>
              <a:gd name="connsiteX1-27" fmla="*/ 2241386 w 2518941"/>
              <a:gd name="connsiteY1-28" fmla="*/ 0 h 2616731"/>
              <a:gd name="connsiteX2-29" fmla="*/ 2518375 w 2518941"/>
              <a:gd name="connsiteY2-30" fmla="*/ 333120 h 2616731"/>
              <a:gd name="connsiteX3-31" fmla="*/ 2515238 w 2518941"/>
              <a:gd name="connsiteY3-32" fmla="*/ 2616731 h 2616731"/>
              <a:gd name="connsiteX4-33" fmla="*/ 0 w 2518941"/>
              <a:gd name="connsiteY4-34" fmla="*/ 2616731 h 2616731"/>
              <a:gd name="connsiteX5-35" fmla="*/ 0 w 2518941"/>
              <a:gd name="connsiteY5-36" fmla="*/ 0 h 2616731"/>
              <a:gd name="connsiteX0-37" fmla="*/ 0 w 2515238"/>
              <a:gd name="connsiteY0-38" fmla="*/ 0 h 2616731"/>
              <a:gd name="connsiteX1-39" fmla="*/ 2241386 w 2515238"/>
              <a:gd name="connsiteY1-40" fmla="*/ 0 h 2616731"/>
              <a:gd name="connsiteX2-41" fmla="*/ 2511413 w 2515238"/>
              <a:gd name="connsiteY2-42" fmla="*/ 333120 h 2616731"/>
              <a:gd name="connsiteX3-43" fmla="*/ 2515238 w 2515238"/>
              <a:gd name="connsiteY3-44" fmla="*/ 2616731 h 2616731"/>
              <a:gd name="connsiteX4-45" fmla="*/ 0 w 2515238"/>
              <a:gd name="connsiteY4-46" fmla="*/ 2616731 h 2616731"/>
              <a:gd name="connsiteX5-47" fmla="*/ 0 w 2515238"/>
              <a:gd name="connsiteY5-48" fmla="*/ 0 h 2616731"/>
              <a:gd name="connsiteX0-49" fmla="*/ 0 w 2515238"/>
              <a:gd name="connsiteY0-50" fmla="*/ 0 h 2616731"/>
              <a:gd name="connsiteX1-51" fmla="*/ 2241386 w 2515238"/>
              <a:gd name="connsiteY1-52" fmla="*/ 0 h 2616731"/>
              <a:gd name="connsiteX2-53" fmla="*/ 2513734 w 2515238"/>
              <a:gd name="connsiteY2-54" fmla="*/ 333120 h 2616731"/>
              <a:gd name="connsiteX3-55" fmla="*/ 2515238 w 2515238"/>
              <a:gd name="connsiteY3-56" fmla="*/ 2616731 h 2616731"/>
              <a:gd name="connsiteX4-57" fmla="*/ 0 w 2515238"/>
              <a:gd name="connsiteY4-58" fmla="*/ 2616731 h 2616731"/>
              <a:gd name="connsiteX5-59" fmla="*/ 0 w 2515238"/>
              <a:gd name="connsiteY5-60" fmla="*/ 0 h 2616731"/>
              <a:gd name="connsiteX0-61" fmla="*/ 0 w 2521160"/>
              <a:gd name="connsiteY0-62" fmla="*/ 0 h 2616731"/>
              <a:gd name="connsiteX1-63" fmla="*/ 2241386 w 2521160"/>
              <a:gd name="connsiteY1-64" fmla="*/ 0 h 2616731"/>
              <a:gd name="connsiteX2-65" fmla="*/ 2520697 w 2521160"/>
              <a:gd name="connsiteY2-66" fmla="*/ 333120 h 2616731"/>
              <a:gd name="connsiteX3-67" fmla="*/ 2515238 w 2521160"/>
              <a:gd name="connsiteY3-68" fmla="*/ 2616731 h 2616731"/>
              <a:gd name="connsiteX4-69" fmla="*/ 0 w 2521160"/>
              <a:gd name="connsiteY4-70" fmla="*/ 2616731 h 2616731"/>
              <a:gd name="connsiteX5-71" fmla="*/ 0 w 2521160"/>
              <a:gd name="connsiteY5-72" fmla="*/ 0 h 2616731"/>
              <a:gd name="connsiteX0-73" fmla="*/ 0 w 2518942"/>
              <a:gd name="connsiteY0-74" fmla="*/ 0 h 2616731"/>
              <a:gd name="connsiteX1-75" fmla="*/ 2241386 w 2518942"/>
              <a:gd name="connsiteY1-76" fmla="*/ 0 h 2616731"/>
              <a:gd name="connsiteX2-77" fmla="*/ 2518376 w 2518942"/>
              <a:gd name="connsiteY2-78" fmla="*/ 333120 h 2616731"/>
              <a:gd name="connsiteX3-79" fmla="*/ 2515238 w 2518942"/>
              <a:gd name="connsiteY3-80" fmla="*/ 2616731 h 2616731"/>
              <a:gd name="connsiteX4-81" fmla="*/ 0 w 2518942"/>
              <a:gd name="connsiteY4-82" fmla="*/ 2616731 h 2616731"/>
              <a:gd name="connsiteX5-83" fmla="*/ 0 w 2518942"/>
              <a:gd name="connsiteY5-84" fmla="*/ 0 h 2616731"/>
              <a:gd name="connsiteX0-85" fmla="*/ 0 w 2518942"/>
              <a:gd name="connsiteY0-86" fmla="*/ 0 h 2616731"/>
              <a:gd name="connsiteX1-87" fmla="*/ 2241386 w 2518942"/>
              <a:gd name="connsiteY1-88" fmla="*/ 0 h 2616731"/>
              <a:gd name="connsiteX2-89" fmla="*/ 2518376 w 2518942"/>
              <a:gd name="connsiteY2-90" fmla="*/ 333120 h 2616731"/>
              <a:gd name="connsiteX3-91" fmla="*/ 2515238 w 2518942"/>
              <a:gd name="connsiteY3-92" fmla="*/ 2616731 h 2616731"/>
              <a:gd name="connsiteX4-93" fmla="*/ 0 w 2518942"/>
              <a:gd name="connsiteY4-94" fmla="*/ 2616731 h 2616731"/>
              <a:gd name="connsiteX5-95" fmla="*/ 0 w 2518942"/>
              <a:gd name="connsiteY5-96" fmla="*/ 0 h 2616731"/>
              <a:gd name="connsiteX0-97" fmla="*/ 0 w 2515238"/>
              <a:gd name="connsiteY0-98" fmla="*/ 0 h 2616731"/>
              <a:gd name="connsiteX1-99" fmla="*/ 2241386 w 2515238"/>
              <a:gd name="connsiteY1-100" fmla="*/ 0 h 2616731"/>
              <a:gd name="connsiteX2-101" fmla="*/ 2511414 w 2515238"/>
              <a:gd name="connsiteY2-102" fmla="*/ 333120 h 2616731"/>
              <a:gd name="connsiteX3-103" fmla="*/ 2515238 w 2515238"/>
              <a:gd name="connsiteY3-104" fmla="*/ 2616731 h 2616731"/>
              <a:gd name="connsiteX4-105" fmla="*/ 0 w 2515238"/>
              <a:gd name="connsiteY4-106" fmla="*/ 2616731 h 2616731"/>
              <a:gd name="connsiteX5-107" fmla="*/ 0 w 2515238"/>
              <a:gd name="connsiteY5-108" fmla="*/ 0 h 2616731"/>
              <a:gd name="connsiteX0-109" fmla="*/ 0 w 2515238"/>
              <a:gd name="connsiteY0-110" fmla="*/ 0 h 2616731"/>
              <a:gd name="connsiteX1-111" fmla="*/ 2241386 w 2515238"/>
              <a:gd name="connsiteY1-112" fmla="*/ 0 h 2616731"/>
              <a:gd name="connsiteX2-113" fmla="*/ 2511414 w 2515238"/>
              <a:gd name="connsiteY2-114" fmla="*/ 335534 h 2616731"/>
              <a:gd name="connsiteX3-115" fmla="*/ 2515238 w 2515238"/>
              <a:gd name="connsiteY3-116" fmla="*/ 2616731 h 2616731"/>
              <a:gd name="connsiteX4-117" fmla="*/ 0 w 2515238"/>
              <a:gd name="connsiteY4-118" fmla="*/ 2616731 h 2616731"/>
              <a:gd name="connsiteX5-119" fmla="*/ 0 w 2515238"/>
              <a:gd name="connsiteY5-120" fmla="*/ 0 h 2616731"/>
              <a:gd name="connsiteX0-121" fmla="*/ 0 w 2516786"/>
              <a:gd name="connsiteY0-122" fmla="*/ 0 h 2616731"/>
              <a:gd name="connsiteX1-123" fmla="*/ 2241386 w 2516786"/>
              <a:gd name="connsiteY1-124" fmla="*/ 0 h 2616731"/>
              <a:gd name="connsiteX2-125" fmla="*/ 2516056 w 2516786"/>
              <a:gd name="connsiteY2-126" fmla="*/ 335534 h 2616731"/>
              <a:gd name="connsiteX3-127" fmla="*/ 2515238 w 2516786"/>
              <a:gd name="connsiteY3-128" fmla="*/ 2616731 h 2616731"/>
              <a:gd name="connsiteX4-129" fmla="*/ 0 w 2516786"/>
              <a:gd name="connsiteY4-130" fmla="*/ 2616731 h 2616731"/>
              <a:gd name="connsiteX5-131" fmla="*/ 0 w 2516786"/>
              <a:gd name="connsiteY5-132" fmla="*/ 0 h 2616731"/>
              <a:gd name="connsiteX0-133" fmla="*/ 0 w 2516786"/>
              <a:gd name="connsiteY0-134" fmla="*/ 0 h 2616731"/>
              <a:gd name="connsiteX1-135" fmla="*/ 2241386 w 2516786"/>
              <a:gd name="connsiteY1-136" fmla="*/ 0 h 2616731"/>
              <a:gd name="connsiteX2-137" fmla="*/ 2516056 w 2516786"/>
              <a:gd name="connsiteY2-138" fmla="*/ 335534 h 2616731"/>
              <a:gd name="connsiteX3-139" fmla="*/ 2515238 w 2516786"/>
              <a:gd name="connsiteY3-140" fmla="*/ 2616731 h 2616731"/>
              <a:gd name="connsiteX4-141" fmla="*/ 0 w 2516786"/>
              <a:gd name="connsiteY4-142" fmla="*/ 2616731 h 2616731"/>
              <a:gd name="connsiteX5-143" fmla="*/ 0 w 2516786"/>
              <a:gd name="connsiteY5-144" fmla="*/ 0 h 261673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16786" h="2616731">
                <a:moveTo>
                  <a:pt x="0" y="0"/>
                </a:moveTo>
                <a:lnTo>
                  <a:pt x="2241386" y="0"/>
                </a:lnTo>
                <a:cubicBezTo>
                  <a:pt x="2481475" y="0"/>
                  <a:pt x="2514315" y="99067"/>
                  <a:pt x="2516056" y="335534"/>
                </a:cubicBezTo>
                <a:cubicBezTo>
                  <a:pt x="2518878" y="1096738"/>
                  <a:pt x="2512416" y="1855527"/>
                  <a:pt x="2515238" y="2616731"/>
                </a:cubicBezTo>
                <a:lnTo>
                  <a:pt x="0" y="2616731"/>
                </a:lnTo>
                <a:lnTo>
                  <a:pt x="0" y="0"/>
                </a:lnTo>
                <a:close/>
              </a:path>
            </a:pathLst>
          </a:custGeom>
          <a:solidFill>
            <a:srgbClr val="005B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65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文本占位符 5"/>
          <p:cNvSpPr>
            <a:spLocks noGrp="1"/>
          </p:cNvSpPr>
          <p:nvPr>
            <p:ph type="body" sz="quarter" idx="14" hasCustomPrompt="1"/>
          </p:nvPr>
        </p:nvSpPr>
        <p:spPr>
          <a:xfrm>
            <a:off x="855662" y="3757939"/>
            <a:ext cx="858043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6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6pt </a:t>
            </a:r>
            <a:r>
              <a:rPr lang="zh-CN" altLang="en-US" dirty="0"/>
              <a:t>加粗</a:t>
            </a:r>
            <a:r>
              <a:rPr lang="en-US" altLang="zh-CN" dirty="0"/>
              <a:t> </a:t>
            </a:r>
            <a:endParaRPr lang="zh-CN" altLang="en-US" dirty="0"/>
          </a:p>
        </p:txBody>
      </p:sp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9797369" y="5984177"/>
            <a:ext cx="1534187" cy="498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58558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分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9"/>
          <p:cNvSpPr>
            <a:spLocks noGrp="1"/>
          </p:cNvSpPr>
          <p:nvPr>
            <p:ph type="body" sz="quarter" idx="10" hasCustomPrompt="1"/>
          </p:nvPr>
        </p:nvSpPr>
        <p:spPr>
          <a:xfrm>
            <a:off x="2972329" y="2789784"/>
            <a:ext cx="8305271" cy="127843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600" b="1">
                <a:solidFill>
                  <a:srgbClr val="005BAC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 36pt </a:t>
            </a:r>
            <a:r>
              <a:rPr lang="zh-CN" altLang="en-US" dirty="0"/>
              <a:t>加粗</a:t>
            </a:r>
          </a:p>
        </p:txBody>
      </p:sp>
      <p:grpSp>
        <p:nvGrpSpPr>
          <p:cNvPr id="4" name="组合 3"/>
          <p:cNvGrpSpPr/>
          <p:nvPr userDrawn="1"/>
        </p:nvGrpSpPr>
        <p:grpSpPr>
          <a:xfrm flipH="1">
            <a:off x="795943" y="1830878"/>
            <a:ext cx="1571106" cy="3196245"/>
            <a:chOff x="795943" y="1234670"/>
            <a:chExt cx="1571106" cy="3196245"/>
          </a:xfrm>
        </p:grpSpPr>
        <p:sp>
          <p:nvSpPr>
            <p:cNvPr id="5" name="单圆角矩形 4"/>
            <p:cNvSpPr/>
            <p:nvPr userDrawn="1"/>
          </p:nvSpPr>
          <p:spPr>
            <a:xfrm flipH="1">
              <a:off x="795943" y="1234670"/>
              <a:ext cx="1571106" cy="1571106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单圆角矩形 5"/>
            <p:cNvSpPr/>
            <p:nvPr userDrawn="1"/>
          </p:nvSpPr>
          <p:spPr>
            <a:xfrm flipH="1" flipV="1">
              <a:off x="795943" y="2859809"/>
              <a:ext cx="1571106" cy="1571106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47393189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1764000"/>
            <a:ext cx="10210271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7743497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1764000"/>
            <a:ext cx="10210271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  <a:p>
            <a:pPr lvl="0"/>
            <a:endParaRPr lang="en-US" altLang="zh-CN" dirty="0"/>
          </a:p>
        </p:txBody>
      </p:sp>
      <p:sp>
        <p:nvSpPr>
          <p:cNvPr id="11" name="矩形 10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3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310898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正文页 两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矩形 12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1" y="1764000"/>
            <a:ext cx="4823886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16" hasCustomPrompt="1"/>
          </p:nvPr>
        </p:nvSpPr>
        <p:spPr>
          <a:xfrm>
            <a:off x="5894385" y="1764000"/>
            <a:ext cx="4963886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6650679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栏-三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图片占位符 16"/>
          <p:cNvSpPr>
            <a:spLocks noGrp="1"/>
          </p:cNvSpPr>
          <p:nvPr>
            <p:ph type="pic" sz="quarter" idx="26"/>
          </p:nvPr>
        </p:nvSpPr>
        <p:spPr>
          <a:xfrm>
            <a:off x="7492771" y="1763713"/>
            <a:ext cx="3365500" cy="3365500"/>
          </a:xfrm>
          <a:prstGeom prst="round1Rect">
            <a:avLst>
              <a:gd name="adj" fmla="val 6761"/>
            </a:avLst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矩形 12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3" name="图片占位符 2"/>
          <p:cNvSpPr>
            <a:spLocks noGrp="1"/>
          </p:cNvSpPr>
          <p:nvPr>
            <p:ph type="pic" sz="quarter" idx="25"/>
          </p:nvPr>
        </p:nvSpPr>
        <p:spPr>
          <a:xfrm>
            <a:off x="4070516" y="1764000"/>
            <a:ext cx="3366000" cy="3366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19" name="图片占位符 18"/>
          <p:cNvSpPr>
            <a:spLocks noGrp="1"/>
          </p:cNvSpPr>
          <p:nvPr>
            <p:ph type="pic" sz="quarter" idx="27"/>
          </p:nvPr>
        </p:nvSpPr>
        <p:spPr>
          <a:xfrm>
            <a:off x="647700" y="1763713"/>
            <a:ext cx="3366560" cy="3365500"/>
          </a:xfrm>
          <a:custGeom>
            <a:avLst/>
            <a:gdLst>
              <a:gd name="connsiteX0" fmla="*/ 246590 w 3365500"/>
              <a:gd name="connsiteY0" fmla="*/ 0 h 3365500"/>
              <a:gd name="connsiteX1" fmla="*/ 3118910 w 3365500"/>
              <a:gd name="connsiteY1" fmla="*/ 0 h 3365500"/>
              <a:gd name="connsiteX2" fmla="*/ 3365500 w 3365500"/>
              <a:gd name="connsiteY2" fmla="*/ 246590 h 3365500"/>
              <a:gd name="connsiteX3" fmla="*/ 3365500 w 3365500"/>
              <a:gd name="connsiteY3" fmla="*/ 3365500 h 3365500"/>
              <a:gd name="connsiteX4" fmla="*/ 3365500 w 3365500"/>
              <a:gd name="connsiteY4" fmla="*/ 3365500 h 3365500"/>
              <a:gd name="connsiteX5" fmla="*/ 0 w 3365500"/>
              <a:gd name="connsiteY5" fmla="*/ 3365500 h 3365500"/>
              <a:gd name="connsiteX6" fmla="*/ 0 w 3365500"/>
              <a:gd name="connsiteY6" fmla="*/ 3365500 h 3365500"/>
              <a:gd name="connsiteX7" fmla="*/ 0 w 3365500"/>
              <a:gd name="connsiteY7" fmla="*/ 246590 h 3365500"/>
              <a:gd name="connsiteX8" fmla="*/ 246590 w 3365500"/>
              <a:gd name="connsiteY8" fmla="*/ 0 h 3365500"/>
              <a:gd name="connsiteX0-1" fmla="*/ 246590 w 3400346"/>
              <a:gd name="connsiteY0-2" fmla="*/ 0 h 3365500"/>
              <a:gd name="connsiteX1-3" fmla="*/ 3328460 w 3400346"/>
              <a:gd name="connsiteY1-4" fmla="*/ 0 h 3365500"/>
              <a:gd name="connsiteX2-5" fmla="*/ 3365500 w 3400346"/>
              <a:gd name="connsiteY2-6" fmla="*/ 246590 h 3365500"/>
              <a:gd name="connsiteX3-7" fmla="*/ 3365500 w 3400346"/>
              <a:gd name="connsiteY3-8" fmla="*/ 3365500 h 3365500"/>
              <a:gd name="connsiteX4-9" fmla="*/ 3365500 w 3400346"/>
              <a:gd name="connsiteY4-10" fmla="*/ 3365500 h 3365500"/>
              <a:gd name="connsiteX5-11" fmla="*/ 0 w 3400346"/>
              <a:gd name="connsiteY5-12" fmla="*/ 3365500 h 3365500"/>
              <a:gd name="connsiteX6-13" fmla="*/ 0 w 3400346"/>
              <a:gd name="connsiteY6-14" fmla="*/ 3365500 h 3365500"/>
              <a:gd name="connsiteX7-15" fmla="*/ 0 w 3400346"/>
              <a:gd name="connsiteY7-16" fmla="*/ 246590 h 3365500"/>
              <a:gd name="connsiteX8-17" fmla="*/ 246590 w 3400346"/>
              <a:gd name="connsiteY8-18" fmla="*/ 0 h 3365500"/>
              <a:gd name="connsiteX0-19" fmla="*/ 246590 w 3413081"/>
              <a:gd name="connsiteY0-20" fmla="*/ 0 h 3365500"/>
              <a:gd name="connsiteX1-21" fmla="*/ 3347510 w 3413081"/>
              <a:gd name="connsiteY1-22" fmla="*/ 0 h 3365500"/>
              <a:gd name="connsiteX2-23" fmla="*/ 3365500 w 3413081"/>
              <a:gd name="connsiteY2-24" fmla="*/ 246590 h 3365500"/>
              <a:gd name="connsiteX3-25" fmla="*/ 3365500 w 3413081"/>
              <a:gd name="connsiteY3-26" fmla="*/ 3365500 h 3365500"/>
              <a:gd name="connsiteX4-27" fmla="*/ 3365500 w 3413081"/>
              <a:gd name="connsiteY4-28" fmla="*/ 3365500 h 3365500"/>
              <a:gd name="connsiteX5-29" fmla="*/ 0 w 3413081"/>
              <a:gd name="connsiteY5-30" fmla="*/ 3365500 h 3365500"/>
              <a:gd name="connsiteX6-31" fmla="*/ 0 w 3413081"/>
              <a:gd name="connsiteY6-32" fmla="*/ 3365500 h 3365500"/>
              <a:gd name="connsiteX7-33" fmla="*/ 0 w 3413081"/>
              <a:gd name="connsiteY7-34" fmla="*/ 246590 h 3365500"/>
              <a:gd name="connsiteX8-35" fmla="*/ 246590 w 3413081"/>
              <a:gd name="connsiteY8-36" fmla="*/ 0 h 3365500"/>
              <a:gd name="connsiteX0-37" fmla="*/ 246590 w 3419838"/>
              <a:gd name="connsiteY0-38" fmla="*/ 0 h 3365500"/>
              <a:gd name="connsiteX1-39" fmla="*/ 3357035 w 3419838"/>
              <a:gd name="connsiteY1-40" fmla="*/ 0 h 3365500"/>
              <a:gd name="connsiteX2-41" fmla="*/ 3365500 w 3419838"/>
              <a:gd name="connsiteY2-42" fmla="*/ 246590 h 3365500"/>
              <a:gd name="connsiteX3-43" fmla="*/ 3365500 w 3419838"/>
              <a:gd name="connsiteY3-44" fmla="*/ 3365500 h 3365500"/>
              <a:gd name="connsiteX4-45" fmla="*/ 3365500 w 3419838"/>
              <a:gd name="connsiteY4-46" fmla="*/ 3365500 h 3365500"/>
              <a:gd name="connsiteX5-47" fmla="*/ 0 w 3419838"/>
              <a:gd name="connsiteY5-48" fmla="*/ 3365500 h 3365500"/>
              <a:gd name="connsiteX6-49" fmla="*/ 0 w 3419838"/>
              <a:gd name="connsiteY6-50" fmla="*/ 3365500 h 3365500"/>
              <a:gd name="connsiteX7-51" fmla="*/ 0 w 3419838"/>
              <a:gd name="connsiteY7-52" fmla="*/ 246590 h 3365500"/>
              <a:gd name="connsiteX8-53" fmla="*/ 246590 w 3419838"/>
              <a:gd name="connsiteY8-54" fmla="*/ 0 h 3365500"/>
              <a:gd name="connsiteX0-55" fmla="*/ 246590 w 3426814"/>
              <a:gd name="connsiteY0-56" fmla="*/ 0 h 3365500"/>
              <a:gd name="connsiteX1-57" fmla="*/ 3366560 w 3426814"/>
              <a:gd name="connsiteY1-58" fmla="*/ 0 h 3365500"/>
              <a:gd name="connsiteX2-59" fmla="*/ 3365500 w 3426814"/>
              <a:gd name="connsiteY2-60" fmla="*/ 246590 h 3365500"/>
              <a:gd name="connsiteX3-61" fmla="*/ 3365500 w 3426814"/>
              <a:gd name="connsiteY3-62" fmla="*/ 3365500 h 3365500"/>
              <a:gd name="connsiteX4-63" fmla="*/ 3365500 w 3426814"/>
              <a:gd name="connsiteY4-64" fmla="*/ 3365500 h 3365500"/>
              <a:gd name="connsiteX5-65" fmla="*/ 0 w 3426814"/>
              <a:gd name="connsiteY5-66" fmla="*/ 3365500 h 3365500"/>
              <a:gd name="connsiteX6-67" fmla="*/ 0 w 3426814"/>
              <a:gd name="connsiteY6-68" fmla="*/ 3365500 h 3365500"/>
              <a:gd name="connsiteX7-69" fmla="*/ 0 w 3426814"/>
              <a:gd name="connsiteY7-70" fmla="*/ 246590 h 3365500"/>
              <a:gd name="connsiteX8-71" fmla="*/ 246590 w 3426814"/>
              <a:gd name="connsiteY8-72" fmla="*/ 0 h 3365500"/>
              <a:gd name="connsiteX0-73" fmla="*/ 246590 w 3426814"/>
              <a:gd name="connsiteY0-74" fmla="*/ 0 h 3365500"/>
              <a:gd name="connsiteX1-75" fmla="*/ 3366560 w 3426814"/>
              <a:gd name="connsiteY1-76" fmla="*/ 0 h 3365500"/>
              <a:gd name="connsiteX2-77" fmla="*/ 3365500 w 3426814"/>
              <a:gd name="connsiteY2-78" fmla="*/ 246590 h 3365500"/>
              <a:gd name="connsiteX3-79" fmla="*/ 3367087 w 3426814"/>
              <a:gd name="connsiteY3-80" fmla="*/ 427037 h 3365500"/>
              <a:gd name="connsiteX4-81" fmla="*/ 3365500 w 3426814"/>
              <a:gd name="connsiteY4-82" fmla="*/ 3365500 h 3365500"/>
              <a:gd name="connsiteX5-83" fmla="*/ 3365500 w 3426814"/>
              <a:gd name="connsiteY5-84" fmla="*/ 3365500 h 3365500"/>
              <a:gd name="connsiteX6-85" fmla="*/ 0 w 3426814"/>
              <a:gd name="connsiteY6-86" fmla="*/ 3365500 h 3365500"/>
              <a:gd name="connsiteX7-87" fmla="*/ 0 w 3426814"/>
              <a:gd name="connsiteY7-88" fmla="*/ 3365500 h 3365500"/>
              <a:gd name="connsiteX8-89" fmla="*/ 0 w 3426814"/>
              <a:gd name="connsiteY8-90" fmla="*/ 246590 h 3365500"/>
              <a:gd name="connsiteX9" fmla="*/ 246590 w 3426814"/>
              <a:gd name="connsiteY9" fmla="*/ 0 h 3365500"/>
              <a:gd name="connsiteX0-91" fmla="*/ 246590 w 3599479"/>
              <a:gd name="connsiteY0-92" fmla="*/ 15825 h 3381325"/>
              <a:gd name="connsiteX1-93" fmla="*/ 3366560 w 3599479"/>
              <a:gd name="connsiteY1-94" fmla="*/ 15825 h 3381325"/>
              <a:gd name="connsiteX2-95" fmla="*/ 3371849 w 3599479"/>
              <a:gd name="connsiteY2-96" fmla="*/ 19000 h 3381325"/>
              <a:gd name="connsiteX3-97" fmla="*/ 3365500 w 3599479"/>
              <a:gd name="connsiteY3-98" fmla="*/ 262415 h 3381325"/>
              <a:gd name="connsiteX4-99" fmla="*/ 3367087 w 3599479"/>
              <a:gd name="connsiteY4-100" fmla="*/ 442862 h 3381325"/>
              <a:gd name="connsiteX5-101" fmla="*/ 3365500 w 3599479"/>
              <a:gd name="connsiteY5-102" fmla="*/ 3381325 h 3381325"/>
              <a:gd name="connsiteX6-103" fmla="*/ 3365500 w 3599479"/>
              <a:gd name="connsiteY6-104" fmla="*/ 3381325 h 3381325"/>
              <a:gd name="connsiteX7-105" fmla="*/ 0 w 3599479"/>
              <a:gd name="connsiteY7-106" fmla="*/ 3381325 h 3381325"/>
              <a:gd name="connsiteX8-107" fmla="*/ 0 w 3599479"/>
              <a:gd name="connsiteY8-108" fmla="*/ 3381325 h 3381325"/>
              <a:gd name="connsiteX9-109" fmla="*/ 0 w 3599479"/>
              <a:gd name="connsiteY9-110" fmla="*/ 262415 h 3381325"/>
              <a:gd name="connsiteX10" fmla="*/ 246590 w 3599479"/>
              <a:gd name="connsiteY10" fmla="*/ 15825 h 3381325"/>
              <a:gd name="connsiteX0-111" fmla="*/ 246590 w 3599419"/>
              <a:gd name="connsiteY0-112" fmla="*/ 29179 h 3394679"/>
              <a:gd name="connsiteX1-113" fmla="*/ 3366560 w 3599419"/>
              <a:gd name="connsiteY1-114" fmla="*/ 29179 h 3394679"/>
              <a:gd name="connsiteX2-115" fmla="*/ 3371849 w 3599419"/>
              <a:gd name="connsiteY2-116" fmla="*/ 32354 h 3394679"/>
              <a:gd name="connsiteX3-117" fmla="*/ 3367087 w 3599419"/>
              <a:gd name="connsiteY3-118" fmla="*/ 456216 h 3394679"/>
              <a:gd name="connsiteX4-119" fmla="*/ 3365500 w 3599419"/>
              <a:gd name="connsiteY4-120" fmla="*/ 3394679 h 3394679"/>
              <a:gd name="connsiteX5-121" fmla="*/ 3365500 w 3599419"/>
              <a:gd name="connsiteY5-122" fmla="*/ 3394679 h 3394679"/>
              <a:gd name="connsiteX6-123" fmla="*/ 0 w 3599419"/>
              <a:gd name="connsiteY6-124" fmla="*/ 3394679 h 3394679"/>
              <a:gd name="connsiteX7-125" fmla="*/ 0 w 3599419"/>
              <a:gd name="connsiteY7-126" fmla="*/ 3394679 h 3394679"/>
              <a:gd name="connsiteX8-127" fmla="*/ 0 w 3599419"/>
              <a:gd name="connsiteY8-128" fmla="*/ 275769 h 3394679"/>
              <a:gd name="connsiteX9-129" fmla="*/ 246590 w 3599419"/>
              <a:gd name="connsiteY9-130" fmla="*/ 29179 h 3394679"/>
              <a:gd name="connsiteX0-131" fmla="*/ 246590 w 3597884"/>
              <a:gd name="connsiteY0-132" fmla="*/ 0 h 3365500"/>
              <a:gd name="connsiteX1-133" fmla="*/ 3366560 w 3597884"/>
              <a:gd name="connsiteY1-134" fmla="*/ 0 h 3365500"/>
              <a:gd name="connsiteX2-135" fmla="*/ 3367087 w 3597884"/>
              <a:gd name="connsiteY2-136" fmla="*/ 427037 h 3365500"/>
              <a:gd name="connsiteX3-137" fmla="*/ 3365500 w 3597884"/>
              <a:gd name="connsiteY3-138" fmla="*/ 3365500 h 3365500"/>
              <a:gd name="connsiteX4-139" fmla="*/ 3365500 w 3597884"/>
              <a:gd name="connsiteY4-140" fmla="*/ 3365500 h 3365500"/>
              <a:gd name="connsiteX5-141" fmla="*/ 0 w 3597884"/>
              <a:gd name="connsiteY5-142" fmla="*/ 3365500 h 3365500"/>
              <a:gd name="connsiteX6-143" fmla="*/ 0 w 3597884"/>
              <a:gd name="connsiteY6-144" fmla="*/ 3365500 h 3365500"/>
              <a:gd name="connsiteX7-145" fmla="*/ 0 w 3597884"/>
              <a:gd name="connsiteY7-146" fmla="*/ 246590 h 3365500"/>
              <a:gd name="connsiteX8-147" fmla="*/ 246590 w 3597884"/>
              <a:gd name="connsiteY8-148" fmla="*/ 0 h 3365500"/>
              <a:gd name="connsiteX0-149" fmla="*/ 246590 w 3377753"/>
              <a:gd name="connsiteY0-150" fmla="*/ 16210 h 3381710"/>
              <a:gd name="connsiteX1-151" fmla="*/ 3366560 w 3377753"/>
              <a:gd name="connsiteY1-152" fmla="*/ 16210 h 3381710"/>
              <a:gd name="connsiteX2-153" fmla="*/ 3367087 w 3377753"/>
              <a:gd name="connsiteY2-154" fmla="*/ 443247 h 3381710"/>
              <a:gd name="connsiteX3-155" fmla="*/ 3365500 w 3377753"/>
              <a:gd name="connsiteY3-156" fmla="*/ 3381710 h 3381710"/>
              <a:gd name="connsiteX4-157" fmla="*/ 3365500 w 3377753"/>
              <a:gd name="connsiteY4-158" fmla="*/ 3381710 h 3381710"/>
              <a:gd name="connsiteX5-159" fmla="*/ 0 w 3377753"/>
              <a:gd name="connsiteY5-160" fmla="*/ 3381710 h 3381710"/>
              <a:gd name="connsiteX6-161" fmla="*/ 0 w 3377753"/>
              <a:gd name="connsiteY6-162" fmla="*/ 3381710 h 3381710"/>
              <a:gd name="connsiteX7-163" fmla="*/ 0 w 3377753"/>
              <a:gd name="connsiteY7-164" fmla="*/ 262800 h 3381710"/>
              <a:gd name="connsiteX8-165" fmla="*/ 246590 w 3377753"/>
              <a:gd name="connsiteY8-166" fmla="*/ 16210 h 3381710"/>
              <a:gd name="connsiteX0-167" fmla="*/ 246590 w 3367127"/>
              <a:gd name="connsiteY0-168" fmla="*/ 0 h 3365500"/>
              <a:gd name="connsiteX1-169" fmla="*/ 3366560 w 3367127"/>
              <a:gd name="connsiteY1-170" fmla="*/ 0 h 3365500"/>
              <a:gd name="connsiteX2-171" fmla="*/ 3367087 w 3367127"/>
              <a:gd name="connsiteY2-172" fmla="*/ 427037 h 3365500"/>
              <a:gd name="connsiteX3-173" fmla="*/ 3365500 w 3367127"/>
              <a:gd name="connsiteY3-174" fmla="*/ 3365500 h 3365500"/>
              <a:gd name="connsiteX4-175" fmla="*/ 3365500 w 3367127"/>
              <a:gd name="connsiteY4-176" fmla="*/ 3365500 h 3365500"/>
              <a:gd name="connsiteX5-177" fmla="*/ 0 w 3367127"/>
              <a:gd name="connsiteY5-178" fmla="*/ 3365500 h 3365500"/>
              <a:gd name="connsiteX6-179" fmla="*/ 0 w 3367127"/>
              <a:gd name="connsiteY6-180" fmla="*/ 3365500 h 3365500"/>
              <a:gd name="connsiteX7-181" fmla="*/ 0 w 3367127"/>
              <a:gd name="connsiteY7-182" fmla="*/ 246590 h 3365500"/>
              <a:gd name="connsiteX8-183" fmla="*/ 246590 w 3367127"/>
              <a:gd name="connsiteY8-184" fmla="*/ 0 h 3365500"/>
              <a:gd name="connsiteX0-185" fmla="*/ 246590 w 3367127"/>
              <a:gd name="connsiteY0-186" fmla="*/ 0 h 3365500"/>
              <a:gd name="connsiteX1-187" fmla="*/ 3366560 w 3367127"/>
              <a:gd name="connsiteY1-188" fmla="*/ 0 h 3365500"/>
              <a:gd name="connsiteX2-189" fmla="*/ 3367087 w 3367127"/>
              <a:gd name="connsiteY2-190" fmla="*/ 427037 h 3365500"/>
              <a:gd name="connsiteX3-191" fmla="*/ 3365500 w 3367127"/>
              <a:gd name="connsiteY3-192" fmla="*/ 3365500 h 3365500"/>
              <a:gd name="connsiteX4-193" fmla="*/ 3365500 w 3367127"/>
              <a:gd name="connsiteY4-194" fmla="*/ 3365500 h 3365500"/>
              <a:gd name="connsiteX5-195" fmla="*/ 0 w 3367127"/>
              <a:gd name="connsiteY5-196" fmla="*/ 3365500 h 3365500"/>
              <a:gd name="connsiteX6-197" fmla="*/ 0 w 3367127"/>
              <a:gd name="connsiteY6-198" fmla="*/ 3365500 h 3365500"/>
              <a:gd name="connsiteX7-199" fmla="*/ 0 w 3367127"/>
              <a:gd name="connsiteY7-200" fmla="*/ 246590 h 3365500"/>
              <a:gd name="connsiteX8-201" fmla="*/ 246590 w 3367127"/>
              <a:gd name="connsiteY8-202" fmla="*/ 0 h 3365500"/>
              <a:gd name="connsiteX0-203" fmla="*/ 246590 w 3597354"/>
              <a:gd name="connsiteY0-204" fmla="*/ 0 h 3365500"/>
              <a:gd name="connsiteX1-205" fmla="*/ 3366560 w 3597354"/>
              <a:gd name="connsiteY1-206" fmla="*/ 0 h 3365500"/>
              <a:gd name="connsiteX2-207" fmla="*/ 3365500 w 3597354"/>
              <a:gd name="connsiteY2-208" fmla="*/ 3365500 h 3365500"/>
              <a:gd name="connsiteX3-209" fmla="*/ 3365500 w 3597354"/>
              <a:gd name="connsiteY3-210" fmla="*/ 3365500 h 3365500"/>
              <a:gd name="connsiteX4-211" fmla="*/ 0 w 3597354"/>
              <a:gd name="connsiteY4-212" fmla="*/ 3365500 h 3365500"/>
              <a:gd name="connsiteX5-213" fmla="*/ 0 w 3597354"/>
              <a:gd name="connsiteY5-214" fmla="*/ 3365500 h 3365500"/>
              <a:gd name="connsiteX6-215" fmla="*/ 0 w 3597354"/>
              <a:gd name="connsiteY6-216" fmla="*/ 246590 h 3365500"/>
              <a:gd name="connsiteX7-217" fmla="*/ 246590 w 3597354"/>
              <a:gd name="connsiteY7-218" fmla="*/ 0 h 3365500"/>
              <a:gd name="connsiteX0-219" fmla="*/ 246590 w 3367119"/>
              <a:gd name="connsiteY0-220" fmla="*/ 0 h 3365500"/>
              <a:gd name="connsiteX1-221" fmla="*/ 3366560 w 3367119"/>
              <a:gd name="connsiteY1-222" fmla="*/ 0 h 3365500"/>
              <a:gd name="connsiteX2-223" fmla="*/ 3365500 w 3367119"/>
              <a:gd name="connsiteY2-224" fmla="*/ 3365500 h 3365500"/>
              <a:gd name="connsiteX3-225" fmla="*/ 3365500 w 3367119"/>
              <a:gd name="connsiteY3-226" fmla="*/ 3365500 h 3365500"/>
              <a:gd name="connsiteX4-227" fmla="*/ 0 w 3367119"/>
              <a:gd name="connsiteY4-228" fmla="*/ 3365500 h 3365500"/>
              <a:gd name="connsiteX5-229" fmla="*/ 0 w 3367119"/>
              <a:gd name="connsiteY5-230" fmla="*/ 3365500 h 3365500"/>
              <a:gd name="connsiteX6-231" fmla="*/ 0 w 3367119"/>
              <a:gd name="connsiteY6-232" fmla="*/ 246590 h 3365500"/>
              <a:gd name="connsiteX7-233" fmla="*/ 246590 w 3367119"/>
              <a:gd name="connsiteY7-234" fmla="*/ 0 h 3365500"/>
              <a:gd name="connsiteX0-235" fmla="*/ 246590 w 3366560"/>
              <a:gd name="connsiteY0-236" fmla="*/ 0 h 3365500"/>
              <a:gd name="connsiteX1-237" fmla="*/ 3366560 w 3366560"/>
              <a:gd name="connsiteY1-238" fmla="*/ 0 h 3365500"/>
              <a:gd name="connsiteX2-239" fmla="*/ 3365500 w 3366560"/>
              <a:gd name="connsiteY2-240" fmla="*/ 3365500 h 3365500"/>
              <a:gd name="connsiteX3-241" fmla="*/ 3365500 w 3366560"/>
              <a:gd name="connsiteY3-242" fmla="*/ 3365500 h 3365500"/>
              <a:gd name="connsiteX4-243" fmla="*/ 0 w 3366560"/>
              <a:gd name="connsiteY4-244" fmla="*/ 3365500 h 3365500"/>
              <a:gd name="connsiteX5-245" fmla="*/ 0 w 3366560"/>
              <a:gd name="connsiteY5-246" fmla="*/ 3365500 h 3365500"/>
              <a:gd name="connsiteX6-247" fmla="*/ 0 w 3366560"/>
              <a:gd name="connsiteY6-248" fmla="*/ 246590 h 3365500"/>
              <a:gd name="connsiteX7-249" fmla="*/ 246590 w 3366560"/>
              <a:gd name="connsiteY7-250" fmla="*/ 0 h 33655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</a:cxnLst>
            <a:rect l="l" t="t" r="r" b="b"/>
            <a:pathLst>
              <a:path w="3366560" h="3365500">
                <a:moveTo>
                  <a:pt x="246590" y="0"/>
                </a:moveTo>
                <a:lnTo>
                  <a:pt x="3366560" y="0"/>
                </a:lnTo>
                <a:cubicBezTo>
                  <a:pt x="3363456" y="57044"/>
                  <a:pt x="3365677" y="2804583"/>
                  <a:pt x="3365500" y="3365500"/>
                </a:cubicBezTo>
                <a:lnTo>
                  <a:pt x="3365500" y="3365500"/>
                </a:lnTo>
                <a:lnTo>
                  <a:pt x="0" y="3365500"/>
                </a:lnTo>
                <a:lnTo>
                  <a:pt x="0" y="3365500"/>
                </a:lnTo>
                <a:lnTo>
                  <a:pt x="0" y="246590"/>
                </a:lnTo>
                <a:cubicBezTo>
                  <a:pt x="0" y="110402"/>
                  <a:pt x="110402" y="0"/>
                  <a:pt x="246590" y="0"/>
                </a:cubicBezTo>
                <a:close/>
              </a:path>
            </a:pathLst>
          </a:cu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-左图右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2" name="矩形 11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20" name="文本占位符 11"/>
          <p:cNvSpPr>
            <a:spLocks noGrp="1"/>
          </p:cNvSpPr>
          <p:nvPr>
            <p:ph type="body" sz="quarter" idx="23" hasCustomPrompt="1"/>
          </p:nvPr>
        </p:nvSpPr>
        <p:spPr>
          <a:xfrm>
            <a:off x="648000" y="1764000"/>
            <a:ext cx="5854400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8" name="图片占位符 7"/>
          <p:cNvSpPr>
            <a:spLocks noGrp="1" noChangeAspect="1"/>
          </p:cNvSpPr>
          <p:nvPr>
            <p:ph type="pic" sz="quarter" idx="24"/>
          </p:nvPr>
        </p:nvSpPr>
        <p:spPr>
          <a:xfrm>
            <a:off x="6923471" y="1764000"/>
            <a:ext cx="3934800" cy="3934800"/>
          </a:xfrm>
          <a:prstGeom prst="round1Rect">
            <a:avLst>
              <a:gd name="adj" fmla="val 6056"/>
            </a:avLst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0495648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-左字右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2" name="矩形 11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9" name="文本占位符 11"/>
          <p:cNvSpPr>
            <a:spLocks noGrp="1"/>
          </p:cNvSpPr>
          <p:nvPr>
            <p:ph type="body" sz="quarter" idx="22" hasCustomPrompt="1"/>
          </p:nvPr>
        </p:nvSpPr>
        <p:spPr>
          <a:xfrm>
            <a:off x="4992913" y="1764000"/>
            <a:ext cx="5865357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22" name="图片占位符 18"/>
          <p:cNvSpPr>
            <a:spLocks noGrp="1" noChangeAspect="1"/>
          </p:cNvSpPr>
          <p:nvPr>
            <p:ph type="pic" sz="quarter" idx="27"/>
          </p:nvPr>
        </p:nvSpPr>
        <p:spPr>
          <a:xfrm>
            <a:off x="648000" y="1764000"/>
            <a:ext cx="3935455" cy="3934800"/>
          </a:xfrm>
          <a:custGeom>
            <a:avLst/>
            <a:gdLst>
              <a:gd name="connsiteX0" fmla="*/ 246590 w 3365500"/>
              <a:gd name="connsiteY0" fmla="*/ 0 h 3365500"/>
              <a:gd name="connsiteX1" fmla="*/ 3118910 w 3365500"/>
              <a:gd name="connsiteY1" fmla="*/ 0 h 3365500"/>
              <a:gd name="connsiteX2" fmla="*/ 3365500 w 3365500"/>
              <a:gd name="connsiteY2" fmla="*/ 246590 h 3365500"/>
              <a:gd name="connsiteX3" fmla="*/ 3365500 w 3365500"/>
              <a:gd name="connsiteY3" fmla="*/ 3365500 h 3365500"/>
              <a:gd name="connsiteX4" fmla="*/ 3365500 w 3365500"/>
              <a:gd name="connsiteY4" fmla="*/ 3365500 h 3365500"/>
              <a:gd name="connsiteX5" fmla="*/ 0 w 3365500"/>
              <a:gd name="connsiteY5" fmla="*/ 3365500 h 3365500"/>
              <a:gd name="connsiteX6" fmla="*/ 0 w 3365500"/>
              <a:gd name="connsiteY6" fmla="*/ 3365500 h 3365500"/>
              <a:gd name="connsiteX7" fmla="*/ 0 w 3365500"/>
              <a:gd name="connsiteY7" fmla="*/ 246590 h 3365500"/>
              <a:gd name="connsiteX8" fmla="*/ 246590 w 3365500"/>
              <a:gd name="connsiteY8" fmla="*/ 0 h 3365500"/>
              <a:gd name="connsiteX0-1" fmla="*/ 246590 w 3400346"/>
              <a:gd name="connsiteY0-2" fmla="*/ 0 h 3365500"/>
              <a:gd name="connsiteX1-3" fmla="*/ 3328460 w 3400346"/>
              <a:gd name="connsiteY1-4" fmla="*/ 0 h 3365500"/>
              <a:gd name="connsiteX2-5" fmla="*/ 3365500 w 3400346"/>
              <a:gd name="connsiteY2-6" fmla="*/ 246590 h 3365500"/>
              <a:gd name="connsiteX3-7" fmla="*/ 3365500 w 3400346"/>
              <a:gd name="connsiteY3-8" fmla="*/ 3365500 h 3365500"/>
              <a:gd name="connsiteX4-9" fmla="*/ 3365500 w 3400346"/>
              <a:gd name="connsiteY4-10" fmla="*/ 3365500 h 3365500"/>
              <a:gd name="connsiteX5-11" fmla="*/ 0 w 3400346"/>
              <a:gd name="connsiteY5-12" fmla="*/ 3365500 h 3365500"/>
              <a:gd name="connsiteX6-13" fmla="*/ 0 w 3400346"/>
              <a:gd name="connsiteY6-14" fmla="*/ 3365500 h 3365500"/>
              <a:gd name="connsiteX7-15" fmla="*/ 0 w 3400346"/>
              <a:gd name="connsiteY7-16" fmla="*/ 246590 h 3365500"/>
              <a:gd name="connsiteX8-17" fmla="*/ 246590 w 3400346"/>
              <a:gd name="connsiteY8-18" fmla="*/ 0 h 3365500"/>
              <a:gd name="connsiteX0-19" fmla="*/ 246590 w 3413081"/>
              <a:gd name="connsiteY0-20" fmla="*/ 0 h 3365500"/>
              <a:gd name="connsiteX1-21" fmla="*/ 3347510 w 3413081"/>
              <a:gd name="connsiteY1-22" fmla="*/ 0 h 3365500"/>
              <a:gd name="connsiteX2-23" fmla="*/ 3365500 w 3413081"/>
              <a:gd name="connsiteY2-24" fmla="*/ 246590 h 3365500"/>
              <a:gd name="connsiteX3-25" fmla="*/ 3365500 w 3413081"/>
              <a:gd name="connsiteY3-26" fmla="*/ 3365500 h 3365500"/>
              <a:gd name="connsiteX4-27" fmla="*/ 3365500 w 3413081"/>
              <a:gd name="connsiteY4-28" fmla="*/ 3365500 h 3365500"/>
              <a:gd name="connsiteX5-29" fmla="*/ 0 w 3413081"/>
              <a:gd name="connsiteY5-30" fmla="*/ 3365500 h 3365500"/>
              <a:gd name="connsiteX6-31" fmla="*/ 0 w 3413081"/>
              <a:gd name="connsiteY6-32" fmla="*/ 3365500 h 3365500"/>
              <a:gd name="connsiteX7-33" fmla="*/ 0 w 3413081"/>
              <a:gd name="connsiteY7-34" fmla="*/ 246590 h 3365500"/>
              <a:gd name="connsiteX8-35" fmla="*/ 246590 w 3413081"/>
              <a:gd name="connsiteY8-36" fmla="*/ 0 h 3365500"/>
              <a:gd name="connsiteX0-37" fmla="*/ 246590 w 3419838"/>
              <a:gd name="connsiteY0-38" fmla="*/ 0 h 3365500"/>
              <a:gd name="connsiteX1-39" fmla="*/ 3357035 w 3419838"/>
              <a:gd name="connsiteY1-40" fmla="*/ 0 h 3365500"/>
              <a:gd name="connsiteX2-41" fmla="*/ 3365500 w 3419838"/>
              <a:gd name="connsiteY2-42" fmla="*/ 246590 h 3365500"/>
              <a:gd name="connsiteX3-43" fmla="*/ 3365500 w 3419838"/>
              <a:gd name="connsiteY3-44" fmla="*/ 3365500 h 3365500"/>
              <a:gd name="connsiteX4-45" fmla="*/ 3365500 w 3419838"/>
              <a:gd name="connsiteY4-46" fmla="*/ 3365500 h 3365500"/>
              <a:gd name="connsiteX5-47" fmla="*/ 0 w 3419838"/>
              <a:gd name="connsiteY5-48" fmla="*/ 3365500 h 3365500"/>
              <a:gd name="connsiteX6-49" fmla="*/ 0 w 3419838"/>
              <a:gd name="connsiteY6-50" fmla="*/ 3365500 h 3365500"/>
              <a:gd name="connsiteX7-51" fmla="*/ 0 w 3419838"/>
              <a:gd name="connsiteY7-52" fmla="*/ 246590 h 3365500"/>
              <a:gd name="connsiteX8-53" fmla="*/ 246590 w 3419838"/>
              <a:gd name="connsiteY8-54" fmla="*/ 0 h 3365500"/>
              <a:gd name="connsiteX0-55" fmla="*/ 246590 w 3426814"/>
              <a:gd name="connsiteY0-56" fmla="*/ 0 h 3365500"/>
              <a:gd name="connsiteX1-57" fmla="*/ 3366560 w 3426814"/>
              <a:gd name="connsiteY1-58" fmla="*/ 0 h 3365500"/>
              <a:gd name="connsiteX2-59" fmla="*/ 3365500 w 3426814"/>
              <a:gd name="connsiteY2-60" fmla="*/ 246590 h 3365500"/>
              <a:gd name="connsiteX3-61" fmla="*/ 3365500 w 3426814"/>
              <a:gd name="connsiteY3-62" fmla="*/ 3365500 h 3365500"/>
              <a:gd name="connsiteX4-63" fmla="*/ 3365500 w 3426814"/>
              <a:gd name="connsiteY4-64" fmla="*/ 3365500 h 3365500"/>
              <a:gd name="connsiteX5-65" fmla="*/ 0 w 3426814"/>
              <a:gd name="connsiteY5-66" fmla="*/ 3365500 h 3365500"/>
              <a:gd name="connsiteX6-67" fmla="*/ 0 w 3426814"/>
              <a:gd name="connsiteY6-68" fmla="*/ 3365500 h 3365500"/>
              <a:gd name="connsiteX7-69" fmla="*/ 0 w 3426814"/>
              <a:gd name="connsiteY7-70" fmla="*/ 246590 h 3365500"/>
              <a:gd name="connsiteX8-71" fmla="*/ 246590 w 3426814"/>
              <a:gd name="connsiteY8-72" fmla="*/ 0 h 3365500"/>
              <a:gd name="connsiteX0-73" fmla="*/ 246590 w 3426814"/>
              <a:gd name="connsiteY0-74" fmla="*/ 0 h 3365500"/>
              <a:gd name="connsiteX1-75" fmla="*/ 3366560 w 3426814"/>
              <a:gd name="connsiteY1-76" fmla="*/ 0 h 3365500"/>
              <a:gd name="connsiteX2-77" fmla="*/ 3365500 w 3426814"/>
              <a:gd name="connsiteY2-78" fmla="*/ 246590 h 3365500"/>
              <a:gd name="connsiteX3-79" fmla="*/ 3367087 w 3426814"/>
              <a:gd name="connsiteY3-80" fmla="*/ 427037 h 3365500"/>
              <a:gd name="connsiteX4-81" fmla="*/ 3365500 w 3426814"/>
              <a:gd name="connsiteY4-82" fmla="*/ 3365500 h 3365500"/>
              <a:gd name="connsiteX5-83" fmla="*/ 3365500 w 3426814"/>
              <a:gd name="connsiteY5-84" fmla="*/ 3365500 h 3365500"/>
              <a:gd name="connsiteX6-85" fmla="*/ 0 w 3426814"/>
              <a:gd name="connsiteY6-86" fmla="*/ 3365500 h 3365500"/>
              <a:gd name="connsiteX7-87" fmla="*/ 0 w 3426814"/>
              <a:gd name="connsiteY7-88" fmla="*/ 3365500 h 3365500"/>
              <a:gd name="connsiteX8-89" fmla="*/ 0 w 3426814"/>
              <a:gd name="connsiteY8-90" fmla="*/ 246590 h 3365500"/>
              <a:gd name="connsiteX9" fmla="*/ 246590 w 3426814"/>
              <a:gd name="connsiteY9" fmla="*/ 0 h 3365500"/>
              <a:gd name="connsiteX0-91" fmla="*/ 246590 w 3599479"/>
              <a:gd name="connsiteY0-92" fmla="*/ 15825 h 3381325"/>
              <a:gd name="connsiteX1-93" fmla="*/ 3366560 w 3599479"/>
              <a:gd name="connsiteY1-94" fmla="*/ 15825 h 3381325"/>
              <a:gd name="connsiteX2-95" fmla="*/ 3371849 w 3599479"/>
              <a:gd name="connsiteY2-96" fmla="*/ 19000 h 3381325"/>
              <a:gd name="connsiteX3-97" fmla="*/ 3365500 w 3599479"/>
              <a:gd name="connsiteY3-98" fmla="*/ 262415 h 3381325"/>
              <a:gd name="connsiteX4-99" fmla="*/ 3367087 w 3599479"/>
              <a:gd name="connsiteY4-100" fmla="*/ 442862 h 3381325"/>
              <a:gd name="connsiteX5-101" fmla="*/ 3365500 w 3599479"/>
              <a:gd name="connsiteY5-102" fmla="*/ 3381325 h 3381325"/>
              <a:gd name="connsiteX6-103" fmla="*/ 3365500 w 3599479"/>
              <a:gd name="connsiteY6-104" fmla="*/ 3381325 h 3381325"/>
              <a:gd name="connsiteX7-105" fmla="*/ 0 w 3599479"/>
              <a:gd name="connsiteY7-106" fmla="*/ 3381325 h 3381325"/>
              <a:gd name="connsiteX8-107" fmla="*/ 0 w 3599479"/>
              <a:gd name="connsiteY8-108" fmla="*/ 3381325 h 3381325"/>
              <a:gd name="connsiteX9-109" fmla="*/ 0 w 3599479"/>
              <a:gd name="connsiteY9-110" fmla="*/ 262415 h 3381325"/>
              <a:gd name="connsiteX10" fmla="*/ 246590 w 3599479"/>
              <a:gd name="connsiteY10" fmla="*/ 15825 h 3381325"/>
              <a:gd name="connsiteX0-111" fmla="*/ 246590 w 3599419"/>
              <a:gd name="connsiteY0-112" fmla="*/ 29179 h 3394679"/>
              <a:gd name="connsiteX1-113" fmla="*/ 3366560 w 3599419"/>
              <a:gd name="connsiteY1-114" fmla="*/ 29179 h 3394679"/>
              <a:gd name="connsiteX2-115" fmla="*/ 3371849 w 3599419"/>
              <a:gd name="connsiteY2-116" fmla="*/ 32354 h 3394679"/>
              <a:gd name="connsiteX3-117" fmla="*/ 3367087 w 3599419"/>
              <a:gd name="connsiteY3-118" fmla="*/ 456216 h 3394679"/>
              <a:gd name="connsiteX4-119" fmla="*/ 3365500 w 3599419"/>
              <a:gd name="connsiteY4-120" fmla="*/ 3394679 h 3394679"/>
              <a:gd name="connsiteX5-121" fmla="*/ 3365500 w 3599419"/>
              <a:gd name="connsiteY5-122" fmla="*/ 3394679 h 3394679"/>
              <a:gd name="connsiteX6-123" fmla="*/ 0 w 3599419"/>
              <a:gd name="connsiteY6-124" fmla="*/ 3394679 h 3394679"/>
              <a:gd name="connsiteX7-125" fmla="*/ 0 w 3599419"/>
              <a:gd name="connsiteY7-126" fmla="*/ 3394679 h 3394679"/>
              <a:gd name="connsiteX8-127" fmla="*/ 0 w 3599419"/>
              <a:gd name="connsiteY8-128" fmla="*/ 275769 h 3394679"/>
              <a:gd name="connsiteX9-129" fmla="*/ 246590 w 3599419"/>
              <a:gd name="connsiteY9-130" fmla="*/ 29179 h 3394679"/>
              <a:gd name="connsiteX0-131" fmla="*/ 246590 w 3597884"/>
              <a:gd name="connsiteY0-132" fmla="*/ 0 h 3365500"/>
              <a:gd name="connsiteX1-133" fmla="*/ 3366560 w 3597884"/>
              <a:gd name="connsiteY1-134" fmla="*/ 0 h 3365500"/>
              <a:gd name="connsiteX2-135" fmla="*/ 3367087 w 3597884"/>
              <a:gd name="connsiteY2-136" fmla="*/ 427037 h 3365500"/>
              <a:gd name="connsiteX3-137" fmla="*/ 3365500 w 3597884"/>
              <a:gd name="connsiteY3-138" fmla="*/ 3365500 h 3365500"/>
              <a:gd name="connsiteX4-139" fmla="*/ 3365500 w 3597884"/>
              <a:gd name="connsiteY4-140" fmla="*/ 3365500 h 3365500"/>
              <a:gd name="connsiteX5-141" fmla="*/ 0 w 3597884"/>
              <a:gd name="connsiteY5-142" fmla="*/ 3365500 h 3365500"/>
              <a:gd name="connsiteX6-143" fmla="*/ 0 w 3597884"/>
              <a:gd name="connsiteY6-144" fmla="*/ 3365500 h 3365500"/>
              <a:gd name="connsiteX7-145" fmla="*/ 0 w 3597884"/>
              <a:gd name="connsiteY7-146" fmla="*/ 246590 h 3365500"/>
              <a:gd name="connsiteX8-147" fmla="*/ 246590 w 3597884"/>
              <a:gd name="connsiteY8-148" fmla="*/ 0 h 3365500"/>
              <a:gd name="connsiteX0-149" fmla="*/ 246590 w 3377753"/>
              <a:gd name="connsiteY0-150" fmla="*/ 16210 h 3381710"/>
              <a:gd name="connsiteX1-151" fmla="*/ 3366560 w 3377753"/>
              <a:gd name="connsiteY1-152" fmla="*/ 16210 h 3381710"/>
              <a:gd name="connsiteX2-153" fmla="*/ 3367087 w 3377753"/>
              <a:gd name="connsiteY2-154" fmla="*/ 443247 h 3381710"/>
              <a:gd name="connsiteX3-155" fmla="*/ 3365500 w 3377753"/>
              <a:gd name="connsiteY3-156" fmla="*/ 3381710 h 3381710"/>
              <a:gd name="connsiteX4-157" fmla="*/ 3365500 w 3377753"/>
              <a:gd name="connsiteY4-158" fmla="*/ 3381710 h 3381710"/>
              <a:gd name="connsiteX5-159" fmla="*/ 0 w 3377753"/>
              <a:gd name="connsiteY5-160" fmla="*/ 3381710 h 3381710"/>
              <a:gd name="connsiteX6-161" fmla="*/ 0 w 3377753"/>
              <a:gd name="connsiteY6-162" fmla="*/ 3381710 h 3381710"/>
              <a:gd name="connsiteX7-163" fmla="*/ 0 w 3377753"/>
              <a:gd name="connsiteY7-164" fmla="*/ 262800 h 3381710"/>
              <a:gd name="connsiteX8-165" fmla="*/ 246590 w 3377753"/>
              <a:gd name="connsiteY8-166" fmla="*/ 16210 h 3381710"/>
              <a:gd name="connsiteX0-167" fmla="*/ 246590 w 3367127"/>
              <a:gd name="connsiteY0-168" fmla="*/ 0 h 3365500"/>
              <a:gd name="connsiteX1-169" fmla="*/ 3366560 w 3367127"/>
              <a:gd name="connsiteY1-170" fmla="*/ 0 h 3365500"/>
              <a:gd name="connsiteX2-171" fmla="*/ 3367087 w 3367127"/>
              <a:gd name="connsiteY2-172" fmla="*/ 427037 h 3365500"/>
              <a:gd name="connsiteX3-173" fmla="*/ 3365500 w 3367127"/>
              <a:gd name="connsiteY3-174" fmla="*/ 3365500 h 3365500"/>
              <a:gd name="connsiteX4-175" fmla="*/ 3365500 w 3367127"/>
              <a:gd name="connsiteY4-176" fmla="*/ 3365500 h 3365500"/>
              <a:gd name="connsiteX5-177" fmla="*/ 0 w 3367127"/>
              <a:gd name="connsiteY5-178" fmla="*/ 3365500 h 3365500"/>
              <a:gd name="connsiteX6-179" fmla="*/ 0 w 3367127"/>
              <a:gd name="connsiteY6-180" fmla="*/ 3365500 h 3365500"/>
              <a:gd name="connsiteX7-181" fmla="*/ 0 w 3367127"/>
              <a:gd name="connsiteY7-182" fmla="*/ 246590 h 3365500"/>
              <a:gd name="connsiteX8-183" fmla="*/ 246590 w 3367127"/>
              <a:gd name="connsiteY8-184" fmla="*/ 0 h 3365500"/>
              <a:gd name="connsiteX0-185" fmla="*/ 246590 w 3367127"/>
              <a:gd name="connsiteY0-186" fmla="*/ 0 h 3365500"/>
              <a:gd name="connsiteX1-187" fmla="*/ 3366560 w 3367127"/>
              <a:gd name="connsiteY1-188" fmla="*/ 0 h 3365500"/>
              <a:gd name="connsiteX2-189" fmla="*/ 3367087 w 3367127"/>
              <a:gd name="connsiteY2-190" fmla="*/ 427037 h 3365500"/>
              <a:gd name="connsiteX3-191" fmla="*/ 3365500 w 3367127"/>
              <a:gd name="connsiteY3-192" fmla="*/ 3365500 h 3365500"/>
              <a:gd name="connsiteX4-193" fmla="*/ 3365500 w 3367127"/>
              <a:gd name="connsiteY4-194" fmla="*/ 3365500 h 3365500"/>
              <a:gd name="connsiteX5-195" fmla="*/ 0 w 3367127"/>
              <a:gd name="connsiteY5-196" fmla="*/ 3365500 h 3365500"/>
              <a:gd name="connsiteX6-197" fmla="*/ 0 w 3367127"/>
              <a:gd name="connsiteY6-198" fmla="*/ 3365500 h 3365500"/>
              <a:gd name="connsiteX7-199" fmla="*/ 0 w 3367127"/>
              <a:gd name="connsiteY7-200" fmla="*/ 246590 h 3365500"/>
              <a:gd name="connsiteX8-201" fmla="*/ 246590 w 3367127"/>
              <a:gd name="connsiteY8-202" fmla="*/ 0 h 3365500"/>
              <a:gd name="connsiteX0-203" fmla="*/ 246590 w 3597354"/>
              <a:gd name="connsiteY0-204" fmla="*/ 0 h 3365500"/>
              <a:gd name="connsiteX1-205" fmla="*/ 3366560 w 3597354"/>
              <a:gd name="connsiteY1-206" fmla="*/ 0 h 3365500"/>
              <a:gd name="connsiteX2-207" fmla="*/ 3365500 w 3597354"/>
              <a:gd name="connsiteY2-208" fmla="*/ 3365500 h 3365500"/>
              <a:gd name="connsiteX3-209" fmla="*/ 3365500 w 3597354"/>
              <a:gd name="connsiteY3-210" fmla="*/ 3365500 h 3365500"/>
              <a:gd name="connsiteX4-211" fmla="*/ 0 w 3597354"/>
              <a:gd name="connsiteY4-212" fmla="*/ 3365500 h 3365500"/>
              <a:gd name="connsiteX5-213" fmla="*/ 0 w 3597354"/>
              <a:gd name="connsiteY5-214" fmla="*/ 3365500 h 3365500"/>
              <a:gd name="connsiteX6-215" fmla="*/ 0 w 3597354"/>
              <a:gd name="connsiteY6-216" fmla="*/ 246590 h 3365500"/>
              <a:gd name="connsiteX7-217" fmla="*/ 246590 w 3597354"/>
              <a:gd name="connsiteY7-218" fmla="*/ 0 h 3365500"/>
              <a:gd name="connsiteX0-219" fmla="*/ 246590 w 3367119"/>
              <a:gd name="connsiteY0-220" fmla="*/ 0 h 3365500"/>
              <a:gd name="connsiteX1-221" fmla="*/ 3366560 w 3367119"/>
              <a:gd name="connsiteY1-222" fmla="*/ 0 h 3365500"/>
              <a:gd name="connsiteX2-223" fmla="*/ 3365500 w 3367119"/>
              <a:gd name="connsiteY2-224" fmla="*/ 3365500 h 3365500"/>
              <a:gd name="connsiteX3-225" fmla="*/ 3365500 w 3367119"/>
              <a:gd name="connsiteY3-226" fmla="*/ 3365500 h 3365500"/>
              <a:gd name="connsiteX4-227" fmla="*/ 0 w 3367119"/>
              <a:gd name="connsiteY4-228" fmla="*/ 3365500 h 3365500"/>
              <a:gd name="connsiteX5-229" fmla="*/ 0 w 3367119"/>
              <a:gd name="connsiteY5-230" fmla="*/ 3365500 h 3365500"/>
              <a:gd name="connsiteX6-231" fmla="*/ 0 w 3367119"/>
              <a:gd name="connsiteY6-232" fmla="*/ 246590 h 3365500"/>
              <a:gd name="connsiteX7-233" fmla="*/ 246590 w 3367119"/>
              <a:gd name="connsiteY7-234" fmla="*/ 0 h 3365500"/>
              <a:gd name="connsiteX0-235" fmla="*/ 246590 w 3366560"/>
              <a:gd name="connsiteY0-236" fmla="*/ 0 h 3365500"/>
              <a:gd name="connsiteX1-237" fmla="*/ 3366560 w 3366560"/>
              <a:gd name="connsiteY1-238" fmla="*/ 0 h 3365500"/>
              <a:gd name="connsiteX2-239" fmla="*/ 3365500 w 3366560"/>
              <a:gd name="connsiteY2-240" fmla="*/ 3365500 h 3365500"/>
              <a:gd name="connsiteX3-241" fmla="*/ 3365500 w 3366560"/>
              <a:gd name="connsiteY3-242" fmla="*/ 3365500 h 3365500"/>
              <a:gd name="connsiteX4-243" fmla="*/ 0 w 3366560"/>
              <a:gd name="connsiteY4-244" fmla="*/ 3365500 h 3365500"/>
              <a:gd name="connsiteX5-245" fmla="*/ 0 w 3366560"/>
              <a:gd name="connsiteY5-246" fmla="*/ 3365500 h 3365500"/>
              <a:gd name="connsiteX6-247" fmla="*/ 0 w 3366560"/>
              <a:gd name="connsiteY6-248" fmla="*/ 246590 h 3365500"/>
              <a:gd name="connsiteX7-249" fmla="*/ 246590 w 3366560"/>
              <a:gd name="connsiteY7-250" fmla="*/ 0 h 33655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</a:cxnLst>
            <a:rect l="l" t="t" r="r" b="b"/>
            <a:pathLst>
              <a:path w="3366560" h="3365500">
                <a:moveTo>
                  <a:pt x="246590" y="0"/>
                </a:moveTo>
                <a:lnTo>
                  <a:pt x="3366560" y="0"/>
                </a:lnTo>
                <a:cubicBezTo>
                  <a:pt x="3363456" y="57044"/>
                  <a:pt x="3365677" y="2804583"/>
                  <a:pt x="3365500" y="3365500"/>
                </a:cubicBezTo>
                <a:lnTo>
                  <a:pt x="3365500" y="3365500"/>
                </a:lnTo>
                <a:lnTo>
                  <a:pt x="0" y="3365500"/>
                </a:lnTo>
                <a:lnTo>
                  <a:pt x="0" y="3365500"/>
                </a:lnTo>
                <a:lnTo>
                  <a:pt x="0" y="246590"/>
                </a:lnTo>
                <a:cubicBezTo>
                  <a:pt x="0" y="110402"/>
                  <a:pt x="110402" y="0"/>
                  <a:pt x="246590" y="0"/>
                </a:cubicBezTo>
                <a:close/>
              </a:path>
            </a:pathLst>
          </a:cu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3023181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栏-三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图片占位符 16"/>
          <p:cNvSpPr>
            <a:spLocks noGrp="1"/>
          </p:cNvSpPr>
          <p:nvPr>
            <p:ph type="pic" sz="quarter" idx="26"/>
          </p:nvPr>
        </p:nvSpPr>
        <p:spPr>
          <a:xfrm>
            <a:off x="7492771" y="1763713"/>
            <a:ext cx="3365500" cy="3365500"/>
          </a:xfrm>
          <a:prstGeom prst="round1Rect">
            <a:avLst>
              <a:gd name="adj" fmla="val 6761"/>
            </a:avLst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矩形 12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3" name="图片占位符 2"/>
          <p:cNvSpPr>
            <a:spLocks noGrp="1"/>
          </p:cNvSpPr>
          <p:nvPr>
            <p:ph type="pic" sz="quarter" idx="25"/>
          </p:nvPr>
        </p:nvSpPr>
        <p:spPr>
          <a:xfrm>
            <a:off x="4070516" y="1764000"/>
            <a:ext cx="3366000" cy="3366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19" name="图片占位符 18"/>
          <p:cNvSpPr>
            <a:spLocks noGrp="1"/>
          </p:cNvSpPr>
          <p:nvPr>
            <p:ph type="pic" sz="quarter" idx="27"/>
          </p:nvPr>
        </p:nvSpPr>
        <p:spPr>
          <a:xfrm>
            <a:off x="647700" y="1763713"/>
            <a:ext cx="3366560" cy="3365500"/>
          </a:xfrm>
          <a:custGeom>
            <a:avLst/>
            <a:gdLst>
              <a:gd name="connsiteX0" fmla="*/ 246590 w 3365500"/>
              <a:gd name="connsiteY0" fmla="*/ 0 h 3365500"/>
              <a:gd name="connsiteX1" fmla="*/ 3118910 w 3365500"/>
              <a:gd name="connsiteY1" fmla="*/ 0 h 3365500"/>
              <a:gd name="connsiteX2" fmla="*/ 3365500 w 3365500"/>
              <a:gd name="connsiteY2" fmla="*/ 246590 h 3365500"/>
              <a:gd name="connsiteX3" fmla="*/ 3365500 w 3365500"/>
              <a:gd name="connsiteY3" fmla="*/ 3365500 h 3365500"/>
              <a:gd name="connsiteX4" fmla="*/ 3365500 w 3365500"/>
              <a:gd name="connsiteY4" fmla="*/ 3365500 h 3365500"/>
              <a:gd name="connsiteX5" fmla="*/ 0 w 3365500"/>
              <a:gd name="connsiteY5" fmla="*/ 3365500 h 3365500"/>
              <a:gd name="connsiteX6" fmla="*/ 0 w 3365500"/>
              <a:gd name="connsiteY6" fmla="*/ 3365500 h 3365500"/>
              <a:gd name="connsiteX7" fmla="*/ 0 w 3365500"/>
              <a:gd name="connsiteY7" fmla="*/ 246590 h 3365500"/>
              <a:gd name="connsiteX8" fmla="*/ 246590 w 3365500"/>
              <a:gd name="connsiteY8" fmla="*/ 0 h 3365500"/>
              <a:gd name="connsiteX0-1" fmla="*/ 246590 w 3400346"/>
              <a:gd name="connsiteY0-2" fmla="*/ 0 h 3365500"/>
              <a:gd name="connsiteX1-3" fmla="*/ 3328460 w 3400346"/>
              <a:gd name="connsiteY1-4" fmla="*/ 0 h 3365500"/>
              <a:gd name="connsiteX2-5" fmla="*/ 3365500 w 3400346"/>
              <a:gd name="connsiteY2-6" fmla="*/ 246590 h 3365500"/>
              <a:gd name="connsiteX3-7" fmla="*/ 3365500 w 3400346"/>
              <a:gd name="connsiteY3-8" fmla="*/ 3365500 h 3365500"/>
              <a:gd name="connsiteX4-9" fmla="*/ 3365500 w 3400346"/>
              <a:gd name="connsiteY4-10" fmla="*/ 3365500 h 3365500"/>
              <a:gd name="connsiteX5-11" fmla="*/ 0 w 3400346"/>
              <a:gd name="connsiteY5-12" fmla="*/ 3365500 h 3365500"/>
              <a:gd name="connsiteX6-13" fmla="*/ 0 w 3400346"/>
              <a:gd name="connsiteY6-14" fmla="*/ 3365500 h 3365500"/>
              <a:gd name="connsiteX7-15" fmla="*/ 0 w 3400346"/>
              <a:gd name="connsiteY7-16" fmla="*/ 246590 h 3365500"/>
              <a:gd name="connsiteX8-17" fmla="*/ 246590 w 3400346"/>
              <a:gd name="connsiteY8-18" fmla="*/ 0 h 3365500"/>
              <a:gd name="connsiteX0-19" fmla="*/ 246590 w 3413081"/>
              <a:gd name="connsiteY0-20" fmla="*/ 0 h 3365500"/>
              <a:gd name="connsiteX1-21" fmla="*/ 3347510 w 3413081"/>
              <a:gd name="connsiteY1-22" fmla="*/ 0 h 3365500"/>
              <a:gd name="connsiteX2-23" fmla="*/ 3365500 w 3413081"/>
              <a:gd name="connsiteY2-24" fmla="*/ 246590 h 3365500"/>
              <a:gd name="connsiteX3-25" fmla="*/ 3365500 w 3413081"/>
              <a:gd name="connsiteY3-26" fmla="*/ 3365500 h 3365500"/>
              <a:gd name="connsiteX4-27" fmla="*/ 3365500 w 3413081"/>
              <a:gd name="connsiteY4-28" fmla="*/ 3365500 h 3365500"/>
              <a:gd name="connsiteX5-29" fmla="*/ 0 w 3413081"/>
              <a:gd name="connsiteY5-30" fmla="*/ 3365500 h 3365500"/>
              <a:gd name="connsiteX6-31" fmla="*/ 0 w 3413081"/>
              <a:gd name="connsiteY6-32" fmla="*/ 3365500 h 3365500"/>
              <a:gd name="connsiteX7-33" fmla="*/ 0 w 3413081"/>
              <a:gd name="connsiteY7-34" fmla="*/ 246590 h 3365500"/>
              <a:gd name="connsiteX8-35" fmla="*/ 246590 w 3413081"/>
              <a:gd name="connsiteY8-36" fmla="*/ 0 h 3365500"/>
              <a:gd name="connsiteX0-37" fmla="*/ 246590 w 3419838"/>
              <a:gd name="connsiteY0-38" fmla="*/ 0 h 3365500"/>
              <a:gd name="connsiteX1-39" fmla="*/ 3357035 w 3419838"/>
              <a:gd name="connsiteY1-40" fmla="*/ 0 h 3365500"/>
              <a:gd name="connsiteX2-41" fmla="*/ 3365500 w 3419838"/>
              <a:gd name="connsiteY2-42" fmla="*/ 246590 h 3365500"/>
              <a:gd name="connsiteX3-43" fmla="*/ 3365500 w 3419838"/>
              <a:gd name="connsiteY3-44" fmla="*/ 3365500 h 3365500"/>
              <a:gd name="connsiteX4-45" fmla="*/ 3365500 w 3419838"/>
              <a:gd name="connsiteY4-46" fmla="*/ 3365500 h 3365500"/>
              <a:gd name="connsiteX5-47" fmla="*/ 0 w 3419838"/>
              <a:gd name="connsiteY5-48" fmla="*/ 3365500 h 3365500"/>
              <a:gd name="connsiteX6-49" fmla="*/ 0 w 3419838"/>
              <a:gd name="connsiteY6-50" fmla="*/ 3365500 h 3365500"/>
              <a:gd name="connsiteX7-51" fmla="*/ 0 w 3419838"/>
              <a:gd name="connsiteY7-52" fmla="*/ 246590 h 3365500"/>
              <a:gd name="connsiteX8-53" fmla="*/ 246590 w 3419838"/>
              <a:gd name="connsiteY8-54" fmla="*/ 0 h 3365500"/>
              <a:gd name="connsiteX0-55" fmla="*/ 246590 w 3426814"/>
              <a:gd name="connsiteY0-56" fmla="*/ 0 h 3365500"/>
              <a:gd name="connsiteX1-57" fmla="*/ 3366560 w 3426814"/>
              <a:gd name="connsiteY1-58" fmla="*/ 0 h 3365500"/>
              <a:gd name="connsiteX2-59" fmla="*/ 3365500 w 3426814"/>
              <a:gd name="connsiteY2-60" fmla="*/ 246590 h 3365500"/>
              <a:gd name="connsiteX3-61" fmla="*/ 3365500 w 3426814"/>
              <a:gd name="connsiteY3-62" fmla="*/ 3365500 h 3365500"/>
              <a:gd name="connsiteX4-63" fmla="*/ 3365500 w 3426814"/>
              <a:gd name="connsiteY4-64" fmla="*/ 3365500 h 3365500"/>
              <a:gd name="connsiteX5-65" fmla="*/ 0 w 3426814"/>
              <a:gd name="connsiteY5-66" fmla="*/ 3365500 h 3365500"/>
              <a:gd name="connsiteX6-67" fmla="*/ 0 w 3426814"/>
              <a:gd name="connsiteY6-68" fmla="*/ 3365500 h 3365500"/>
              <a:gd name="connsiteX7-69" fmla="*/ 0 w 3426814"/>
              <a:gd name="connsiteY7-70" fmla="*/ 246590 h 3365500"/>
              <a:gd name="connsiteX8-71" fmla="*/ 246590 w 3426814"/>
              <a:gd name="connsiteY8-72" fmla="*/ 0 h 3365500"/>
              <a:gd name="connsiteX0-73" fmla="*/ 246590 w 3426814"/>
              <a:gd name="connsiteY0-74" fmla="*/ 0 h 3365500"/>
              <a:gd name="connsiteX1-75" fmla="*/ 3366560 w 3426814"/>
              <a:gd name="connsiteY1-76" fmla="*/ 0 h 3365500"/>
              <a:gd name="connsiteX2-77" fmla="*/ 3365500 w 3426814"/>
              <a:gd name="connsiteY2-78" fmla="*/ 246590 h 3365500"/>
              <a:gd name="connsiteX3-79" fmla="*/ 3367087 w 3426814"/>
              <a:gd name="connsiteY3-80" fmla="*/ 427037 h 3365500"/>
              <a:gd name="connsiteX4-81" fmla="*/ 3365500 w 3426814"/>
              <a:gd name="connsiteY4-82" fmla="*/ 3365500 h 3365500"/>
              <a:gd name="connsiteX5-83" fmla="*/ 3365500 w 3426814"/>
              <a:gd name="connsiteY5-84" fmla="*/ 3365500 h 3365500"/>
              <a:gd name="connsiteX6-85" fmla="*/ 0 w 3426814"/>
              <a:gd name="connsiteY6-86" fmla="*/ 3365500 h 3365500"/>
              <a:gd name="connsiteX7-87" fmla="*/ 0 w 3426814"/>
              <a:gd name="connsiteY7-88" fmla="*/ 3365500 h 3365500"/>
              <a:gd name="connsiteX8-89" fmla="*/ 0 w 3426814"/>
              <a:gd name="connsiteY8-90" fmla="*/ 246590 h 3365500"/>
              <a:gd name="connsiteX9" fmla="*/ 246590 w 3426814"/>
              <a:gd name="connsiteY9" fmla="*/ 0 h 3365500"/>
              <a:gd name="connsiteX0-91" fmla="*/ 246590 w 3599479"/>
              <a:gd name="connsiteY0-92" fmla="*/ 15825 h 3381325"/>
              <a:gd name="connsiteX1-93" fmla="*/ 3366560 w 3599479"/>
              <a:gd name="connsiteY1-94" fmla="*/ 15825 h 3381325"/>
              <a:gd name="connsiteX2-95" fmla="*/ 3371849 w 3599479"/>
              <a:gd name="connsiteY2-96" fmla="*/ 19000 h 3381325"/>
              <a:gd name="connsiteX3-97" fmla="*/ 3365500 w 3599479"/>
              <a:gd name="connsiteY3-98" fmla="*/ 262415 h 3381325"/>
              <a:gd name="connsiteX4-99" fmla="*/ 3367087 w 3599479"/>
              <a:gd name="connsiteY4-100" fmla="*/ 442862 h 3381325"/>
              <a:gd name="connsiteX5-101" fmla="*/ 3365500 w 3599479"/>
              <a:gd name="connsiteY5-102" fmla="*/ 3381325 h 3381325"/>
              <a:gd name="connsiteX6-103" fmla="*/ 3365500 w 3599479"/>
              <a:gd name="connsiteY6-104" fmla="*/ 3381325 h 3381325"/>
              <a:gd name="connsiteX7-105" fmla="*/ 0 w 3599479"/>
              <a:gd name="connsiteY7-106" fmla="*/ 3381325 h 3381325"/>
              <a:gd name="connsiteX8-107" fmla="*/ 0 w 3599479"/>
              <a:gd name="connsiteY8-108" fmla="*/ 3381325 h 3381325"/>
              <a:gd name="connsiteX9-109" fmla="*/ 0 w 3599479"/>
              <a:gd name="connsiteY9-110" fmla="*/ 262415 h 3381325"/>
              <a:gd name="connsiteX10" fmla="*/ 246590 w 3599479"/>
              <a:gd name="connsiteY10" fmla="*/ 15825 h 3381325"/>
              <a:gd name="connsiteX0-111" fmla="*/ 246590 w 3599419"/>
              <a:gd name="connsiteY0-112" fmla="*/ 29179 h 3394679"/>
              <a:gd name="connsiteX1-113" fmla="*/ 3366560 w 3599419"/>
              <a:gd name="connsiteY1-114" fmla="*/ 29179 h 3394679"/>
              <a:gd name="connsiteX2-115" fmla="*/ 3371849 w 3599419"/>
              <a:gd name="connsiteY2-116" fmla="*/ 32354 h 3394679"/>
              <a:gd name="connsiteX3-117" fmla="*/ 3367087 w 3599419"/>
              <a:gd name="connsiteY3-118" fmla="*/ 456216 h 3394679"/>
              <a:gd name="connsiteX4-119" fmla="*/ 3365500 w 3599419"/>
              <a:gd name="connsiteY4-120" fmla="*/ 3394679 h 3394679"/>
              <a:gd name="connsiteX5-121" fmla="*/ 3365500 w 3599419"/>
              <a:gd name="connsiteY5-122" fmla="*/ 3394679 h 3394679"/>
              <a:gd name="connsiteX6-123" fmla="*/ 0 w 3599419"/>
              <a:gd name="connsiteY6-124" fmla="*/ 3394679 h 3394679"/>
              <a:gd name="connsiteX7-125" fmla="*/ 0 w 3599419"/>
              <a:gd name="connsiteY7-126" fmla="*/ 3394679 h 3394679"/>
              <a:gd name="connsiteX8-127" fmla="*/ 0 w 3599419"/>
              <a:gd name="connsiteY8-128" fmla="*/ 275769 h 3394679"/>
              <a:gd name="connsiteX9-129" fmla="*/ 246590 w 3599419"/>
              <a:gd name="connsiteY9-130" fmla="*/ 29179 h 3394679"/>
              <a:gd name="connsiteX0-131" fmla="*/ 246590 w 3597884"/>
              <a:gd name="connsiteY0-132" fmla="*/ 0 h 3365500"/>
              <a:gd name="connsiteX1-133" fmla="*/ 3366560 w 3597884"/>
              <a:gd name="connsiteY1-134" fmla="*/ 0 h 3365500"/>
              <a:gd name="connsiteX2-135" fmla="*/ 3367087 w 3597884"/>
              <a:gd name="connsiteY2-136" fmla="*/ 427037 h 3365500"/>
              <a:gd name="connsiteX3-137" fmla="*/ 3365500 w 3597884"/>
              <a:gd name="connsiteY3-138" fmla="*/ 3365500 h 3365500"/>
              <a:gd name="connsiteX4-139" fmla="*/ 3365500 w 3597884"/>
              <a:gd name="connsiteY4-140" fmla="*/ 3365500 h 3365500"/>
              <a:gd name="connsiteX5-141" fmla="*/ 0 w 3597884"/>
              <a:gd name="connsiteY5-142" fmla="*/ 3365500 h 3365500"/>
              <a:gd name="connsiteX6-143" fmla="*/ 0 w 3597884"/>
              <a:gd name="connsiteY6-144" fmla="*/ 3365500 h 3365500"/>
              <a:gd name="connsiteX7-145" fmla="*/ 0 w 3597884"/>
              <a:gd name="connsiteY7-146" fmla="*/ 246590 h 3365500"/>
              <a:gd name="connsiteX8-147" fmla="*/ 246590 w 3597884"/>
              <a:gd name="connsiteY8-148" fmla="*/ 0 h 3365500"/>
              <a:gd name="connsiteX0-149" fmla="*/ 246590 w 3377753"/>
              <a:gd name="connsiteY0-150" fmla="*/ 16210 h 3381710"/>
              <a:gd name="connsiteX1-151" fmla="*/ 3366560 w 3377753"/>
              <a:gd name="connsiteY1-152" fmla="*/ 16210 h 3381710"/>
              <a:gd name="connsiteX2-153" fmla="*/ 3367087 w 3377753"/>
              <a:gd name="connsiteY2-154" fmla="*/ 443247 h 3381710"/>
              <a:gd name="connsiteX3-155" fmla="*/ 3365500 w 3377753"/>
              <a:gd name="connsiteY3-156" fmla="*/ 3381710 h 3381710"/>
              <a:gd name="connsiteX4-157" fmla="*/ 3365500 w 3377753"/>
              <a:gd name="connsiteY4-158" fmla="*/ 3381710 h 3381710"/>
              <a:gd name="connsiteX5-159" fmla="*/ 0 w 3377753"/>
              <a:gd name="connsiteY5-160" fmla="*/ 3381710 h 3381710"/>
              <a:gd name="connsiteX6-161" fmla="*/ 0 w 3377753"/>
              <a:gd name="connsiteY6-162" fmla="*/ 3381710 h 3381710"/>
              <a:gd name="connsiteX7-163" fmla="*/ 0 w 3377753"/>
              <a:gd name="connsiteY7-164" fmla="*/ 262800 h 3381710"/>
              <a:gd name="connsiteX8-165" fmla="*/ 246590 w 3377753"/>
              <a:gd name="connsiteY8-166" fmla="*/ 16210 h 3381710"/>
              <a:gd name="connsiteX0-167" fmla="*/ 246590 w 3367127"/>
              <a:gd name="connsiteY0-168" fmla="*/ 0 h 3365500"/>
              <a:gd name="connsiteX1-169" fmla="*/ 3366560 w 3367127"/>
              <a:gd name="connsiteY1-170" fmla="*/ 0 h 3365500"/>
              <a:gd name="connsiteX2-171" fmla="*/ 3367087 w 3367127"/>
              <a:gd name="connsiteY2-172" fmla="*/ 427037 h 3365500"/>
              <a:gd name="connsiteX3-173" fmla="*/ 3365500 w 3367127"/>
              <a:gd name="connsiteY3-174" fmla="*/ 3365500 h 3365500"/>
              <a:gd name="connsiteX4-175" fmla="*/ 3365500 w 3367127"/>
              <a:gd name="connsiteY4-176" fmla="*/ 3365500 h 3365500"/>
              <a:gd name="connsiteX5-177" fmla="*/ 0 w 3367127"/>
              <a:gd name="connsiteY5-178" fmla="*/ 3365500 h 3365500"/>
              <a:gd name="connsiteX6-179" fmla="*/ 0 w 3367127"/>
              <a:gd name="connsiteY6-180" fmla="*/ 3365500 h 3365500"/>
              <a:gd name="connsiteX7-181" fmla="*/ 0 w 3367127"/>
              <a:gd name="connsiteY7-182" fmla="*/ 246590 h 3365500"/>
              <a:gd name="connsiteX8-183" fmla="*/ 246590 w 3367127"/>
              <a:gd name="connsiteY8-184" fmla="*/ 0 h 3365500"/>
              <a:gd name="connsiteX0-185" fmla="*/ 246590 w 3367127"/>
              <a:gd name="connsiteY0-186" fmla="*/ 0 h 3365500"/>
              <a:gd name="connsiteX1-187" fmla="*/ 3366560 w 3367127"/>
              <a:gd name="connsiteY1-188" fmla="*/ 0 h 3365500"/>
              <a:gd name="connsiteX2-189" fmla="*/ 3367087 w 3367127"/>
              <a:gd name="connsiteY2-190" fmla="*/ 427037 h 3365500"/>
              <a:gd name="connsiteX3-191" fmla="*/ 3365500 w 3367127"/>
              <a:gd name="connsiteY3-192" fmla="*/ 3365500 h 3365500"/>
              <a:gd name="connsiteX4-193" fmla="*/ 3365500 w 3367127"/>
              <a:gd name="connsiteY4-194" fmla="*/ 3365500 h 3365500"/>
              <a:gd name="connsiteX5-195" fmla="*/ 0 w 3367127"/>
              <a:gd name="connsiteY5-196" fmla="*/ 3365500 h 3365500"/>
              <a:gd name="connsiteX6-197" fmla="*/ 0 w 3367127"/>
              <a:gd name="connsiteY6-198" fmla="*/ 3365500 h 3365500"/>
              <a:gd name="connsiteX7-199" fmla="*/ 0 w 3367127"/>
              <a:gd name="connsiteY7-200" fmla="*/ 246590 h 3365500"/>
              <a:gd name="connsiteX8-201" fmla="*/ 246590 w 3367127"/>
              <a:gd name="connsiteY8-202" fmla="*/ 0 h 3365500"/>
              <a:gd name="connsiteX0-203" fmla="*/ 246590 w 3597354"/>
              <a:gd name="connsiteY0-204" fmla="*/ 0 h 3365500"/>
              <a:gd name="connsiteX1-205" fmla="*/ 3366560 w 3597354"/>
              <a:gd name="connsiteY1-206" fmla="*/ 0 h 3365500"/>
              <a:gd name="connsiteX2-207" fmla="*/ 3365500 w 3597354"/>
              <a:gd name="connsiteY2-208" fmla="*/ 3365500 h 3365500"/>
              <a:gd name="connsiteX3-209" fmla="*/ 3365500 w 3597354"/>
              <a:gd name="connsiteY3-210" fmla="*/ 3365500 h 3365500"/>
              <a:gd name="connsiteX4-211" fmla="*/ 0 w 3597354"/>
              <a:gd name="connsiteY4-212" fmla="*/ 3365500 h 3365500"/>
              <a:gd name="connsiteX5-213" fmla="*/ 0 w 3597354"/>
              <a:gd name="connsiteY5-214" fmla="*/ 3365500 h 3365500"/>
              <a:gd name="connsiteX6-215" fmla="*/ 0 w 3597354"/>
              <a:gd name="connsiteY6-216" fmla="*/ 246590 h 3365500"/>
              <a:gd name="connsiteX7-217" fmla="*/ 246590 w 3597354"/>
              <a:gd name="connsiteY7-218" fmla="*/ 0 h 3365500"/>
              <a:gd name="connsiteX0-219" fmla="*/ 246590 w 3367119"/>
              <a:gd name="connsiteY0-220" fmla="*/ 0 h 3365500"/>
              <a:gd name="connsiteX1-221" fmla="*/ 3366560 w 3367119"/>
              <a:gd name="connsiteY1-222" fmla="*/ 0 h 3365500"/>
              <a:gd name="connsiteX2-223" fmla="*/ 3365500 w 3367119"/>
              <a:gd name="connsiteY2-224" fmla="*/ 3365500 h 3365500"/>
              <a:gd name="connsiteX3-225" fmla="*/ 3365500 w 3367119"/>
              <a:gd name="connsiteY3-226" fmla="*/ 3365500 h 3365500"/>
              <a:gd name="connsiteX4-227" fmla="*/ 0 w 3367119"/>
              <a:gd name="connsiteY4-228" fmla="*/ 3365500 h 3365500"/>
              <a:gd name="connsiteX5-229" fmla="*/ 0 w 3367119"/>
              <a:gd name="connsiteY5-230" fmla="*/ 3365500 h 3365500"/>
              <a:gd name="connsiteX6-231" fmla="*/ 0 w 3367119"/>
              <a:gd name="connsiteY6-232" fmla="*/ 246590 h 3365500"/>
              <a:gd name="connsiteX7-233" fmla="*/ 246590 w 3367119"/>
              <a:gd name="connsiteY7-234" fmla="*/ 0 h 3365500"/>
              <a:gd name="connsiteX0-235" fmla="*/ 246590 w 3366560"/>
              <a:gd name="connsiteY0-236" fmla="*/ 0 h 3365500"/>
              <a:gd name="connsiteX1-237" fmla="*/ 3366560 w 3366560"/>
              <a:gd name="connsiteY1-238" fmla="*/ 0 h 3365500"/>
              <a:gd name="connsiteX2-239" fmla="*/ 3365500 w 3366560"/>
              <a:gd name="connsiteY2-240" fmla="*/ 3365500 h 3365500"/>
              <a:gd name="connsiteX3-241" fmla="*/ 3365500 w 3366560"/>
              <a:gd name="connsiteY3-242" fmla="*/ 3365500 h 3365500"/>
              <a:gd name="connsiteX4-243" fmla="*/ 0 w 3366560"/>
              <a:gd name="connsiteY4-244" fmla="*/ 3365500 h 3365500"/>
              <a:gd name="connsiteX5-245" fmla="*/ 0 w 3366560"/>
              <a:gd name="connsiteY5-246" fmla="*/ 3365500 h 3365500"/>
              <a:gd name="connsiteX6-247" fmla="*/ 0 w 3366560"/>
              <a:gd name="connsiteY6-248" fmla="*/ 246590 h 3365500"/>
              <a:gd name="connsiteX7-249" fmla="*/ 246590 w 3366560"/>
              <a:gd name="connsiteY7-250" fmla="*/ 0 h 33655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</a:cxnLst>
            <a:rect l="l" t="t" r="r" b="b"/>
            <a:pathLst>
              <a:path w="3366560" h="3365500">
                <a:moveTo>
                  <a:pt x="246590" y="0"/>
                </a:moveTo>
                <a:lnTo>
                  <a:pt x="3366560" y="0"/>
                </a:lnTo>
                <a:cubicBezTo>
                  <a:pt x="3363456" y="57044"/>
                  <a:pt x="3365677" y="2804583"/>
                  <a:pt x="3365500" y="3365500"/>
                </a:cubicBezTo>
                <a:lnTo>
                  <a:pt x="3365500" y="3365500"/>
                </a:lnTo>
                <a:lnTo>
                  <a:pt x="0" y="3365500"/>
                </a:lnTo>
                <a:lnTo>
                  <a:pt x="0" y="3365500"/>
                </a:lnTo>
                <a:lnTo>
                  <a:pt x="0" y="246590"/>
                </a:lnTo>
                <a:cubicBezTo>
                  <a:pt x="0" y="110402"/>
                  <a:pt x="110402" y="0"/>
                  <a:pt x="246590" y="0"/>
                </a:cubicBezTo>
                <a:close/>
              </a:path>
            </a:pathLst>
          </a:cu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636291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-左字右四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" name="矩形 13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22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23" name="图片占位符 26"/>
          <p:cNvSpPr>
            <a:spLocks noGrp="1"/>
          </p:cNvSpPr>
          <p:nvPr>
            <p:ph type="pic" sz="quarter" idx="23"/>
          </p:nvPr>
        </p:nvSpPr>
        <p:spPr>
          <a:xfrm>
            <a:off x="6945807" y="1764001"/>
            <a:ext cx="1937400" cy="1951797"/>
          </a:xfrm>
          <a:custGeom>
            <a:avLst/>
            <a:gdLst>
              <a:gd name="connsiteX0" fmla="*/ 385763 w 1636713"/>
              <a:gd name="connsiteY0" fmla="*/ 0 h 1640417"/>
              <a:gd name="connsiteX1" fmla="*/ 1630363 w 1636713"/>
              <a:gd name="connsiteY1" fmla="*/ 0 h 1640417"/>
              <a:gd name="connsiteX2" fmla="*/ 1630363 w 1636713"/>
              <a:gd name="connsiteY2" fmla="*/ 88946 h 1640417"/>
              <a:gd name="connsiteX3" fmla="*/ 1636713 w 1636713"/>
              <a:gd name="connsiteY3" fmla="*/ 120398 h 1640417"/>
              <a:gd name="connsiteX4" fmla="*/ 1636713 w 1636713"/>
              <a:gd name="connsiteY4" fmla="*/ 1005418 h 1640417"/>
              <a:gd name="connsiteX5" fmla="*/ 1636713 w 1636713"/>
              <a:gd name="connsiteY5" fmla="*/ 1517904 h 1640417"/>
              <a:gd name="connsiteX6" fmla="*/ 1636713 w 1636713"/>
              <a:gd name="connsiteY6" fmla="*/ 1638831 h 1640417"/>
              <a:gd name="connsiteX7" fmla="*/ 1630363 w 1636713"/>
              <a:gd name="connsiteY7" fmla="*/ 1638831 h 1640417"/>
              <a:gd name="connsiteX8" fmla="*/ 1630363 w 1636713"/>
              <a:gd name="connsiteY8" fmla="*/ 1640417 h 1640417"/>
              <a:gd name="connsiteX9" fmla="*/ 385763 w 1636713"/>
              <a:gd name="connsiteY9" fmla="*/ 1640417 h 1640417"/>
              <a:gd name="connsiteX10" fmla="*/ 385763 w 1636713"/>
              <a:gd name="connsiteY10" fmla="*/ 1638831 h 1640417"/>
              <a:gd name="connsiteX11" fmla="*/ 0 w 1636713"/>
              <a:gd name="connsiteY11" fmla="*/ 1638831 h 1640417"/>
              <a:gd name="connsiteX12" fmla="*/ 0 w 1636713"/>
              <a:gd name="connsiteY12" fmla="*/ 1517904 h 1640417"/>
              <a:gd name="connsiteX13" fmla="*/ 0 w 1636713"/>
              <a:gd name="connsiteY13" fmla="*/ 1005418 h 1640417"/>
              <a:gd name="connsiteX14" fmla="*/ 0 w 1636713"/>
              <a:gd name="connsiteY14" fmla="*/ 120398 h 1640417"/>
              <a:gd name="connsiteX15" fmla="*/ 120397 w 1636713"/>
              <a:gd name="connsiteY15" fmla="*/ 1 h 1640417"/>
              <a:gd name="connsiteX16" fmla="*/ 385763 w 1636713"/>
              <a:gd name="connsiteY16" fmla="*/ 1 h 1640417"/>
              <a:gd name="connsiteX0-1" fmla="*/ 385763 w 1636713"/>
              <a:gd name="connsiteY0-2" fmla="*/ 0 h 1640417"/>
              <a:gd name="connsiteX1-3" fmla="*/ 1630363 w 1636713"/>
              <a:gd name="connsiteY1-4" fmla="*/ 0 h 1640417"/>
              <a:gd name="connsiteX2-5" fmla="*/ 1630363 w 1636713"/>
              <a:gd name="connsiteY2-6" fmla="*/ 88946 h 1640417"/>
              <a:gd name="connsiteX3-7" fmla="*/ 1636713 w 1636713"/>
              <a:gd name="connsiteY3-8" fmla="*/ 1005418 h 1640417"/>
              <a:gd name="connsiteX4-9" fmla="*/ 1636713 w 1636713"/>
              <a:gd name="connsiteY4-10" fmla="*/ 1517904 h 1640417"/>
              <a:gd name="connsiteX5-11" fmla="*/ 1636713 w 1636713"/>
              <a:gd name="connsiteY5-12" fmla="*/ 1638831 h 1640417"/>
              <a:gd name="connsiteX6-13" fmla="*/ 1630363 w 1636713"/>
              <a:gd name="connsiteY6-14" fmla="*/ 1638831 h 1640417"/>
              <a:gd name="connsiteX7-15" fmla="*/ 1630363 w 1636713"/>
              <a:gd name="connsiteY7-16" fmla="*/ 1640417 h 1640417"/>
              <a:gd name="connsiteX8-17" fmla="*/ 385763 w 1636713"/>
              <a:gd name="connsiteY8-18" fmla="*/ 1640417 h 1640417"/>
              <a:gd name="connsiteX9-19" fmla="*/ 385763 w 1636713"/>
              <a:gd name="connsiteY9-20" fmla="*/ 1638831 h 1640417"/>
              <a:gd name="connsiteX10-21" fmla="*/ 0 w 1636713"/>
              <a:gd name="connsiteY10-22" fmla="*/ 1638831 h 1640417"/>
              <a:gd name="connsiteX11-23" fmla="*/ 0 w 1636713"/>
              <a:gd name="connsiteY11-24" fmla="*/ 1517904 h 1640417"/>
              <a:gd name="connsiteX12-25" fmla="*/ 0 w 1636713"/>
              <a:gd name="connsiteY12-26" fmla="*/ 1005418 h 1640417"/>
              <a:gd name="connsiteX13-27" fmla="*/ 0 w 1636713"/>
              <a:gd name="connsiteY13-28" fmla="*/ 120398 h 1640417"/>
              <a:gd name="connsiteX14-29" fmla="*/ 120397 w 1636713"/>
              <a:gd name="connsiteY14-30" fmla="*/ 1 h 1640417"/>
              <a:gd name="connsiteX15-31" fmla="*/ 385763 w 1636713"/>
              <a:gd name="connsiteY15-32" fmla="*/ 1 h 1640417"/>
              <a:gd name="connsiteX16-33" fmla="*/ 385763 w 1636713"/>
              <a:gd name="connsiteY16-34" fmla="*/ 0 h 1640417"/>
              <a:gd name="connsiteX0-35" fmla="*/ 385763 w 1636713"/>
              <a:gd name="connsiteY0-36" fmla="*/ 0 h 1640417"/>
              <a:gd name="connsiteX1-37" fmla="*/ 1630363 w 1636713"/>
              <a:gd name="connsiteY1-38" fmla="*/ 0 h 1640417"/>
              <a:gd name="connsiteX2-39" fmla="*/ 1636713 w 1636713"/>
              <a:gd name="connsiteY2-40" fmla="*/ 1005418 h 1640417"/>
              <a:gd name="connsiteX3-41" fmla="*/ 1636713 w 1636713"/>
              <a:gd name="connsiteY3-42" fmla="*/ 1517904 h 1640417"/>
              <a:gd name="connsiteX4-43" fmla="*/ 1636713 w 1636713"/>
              <a:gd name="connsiteY4-44" fmla="*/ 1638831 h 1640417"/>
              <a:gd name="connsiteX5-45" fmla="*/ 1630363 w 1636713"/>
              <a:gd name="connsiteY5-46" fmla="*/ 1638831 h 1640417"/>
              <a:gd name="connsiteX6-47" fmla="*/ 1630363 w 1636713"/>
              <a:gd name="connsiteY6-48" fmla="*/ 1640417 h 1640417"/>
              <a:gd name="connsiteX7-49" fmla="*/ 385763 w 1636713"/>
              <a:gd name="connsiteY7-50" fmla="*/ 1640417 h 1640417"/>
              <a:gd name="connsiteX8-51" fmla="*/ 385763 w 1636713"/>
              <a:gd name="connsiteY8-52" fmla="*/ 1638831 h 1640417"/>
              <a:gd name="connsiteX9-53" fmla="*/ 0 w 1636713"/>
              <a:gd name="connsiteY9-54" fmla="*/ 1638831 h 1640417"/>
              <a:gd name="connsiteX10-55" fmla="*/ 0 w 1636713"/>
              <a:gd name="connsiteY10-56" fmla="*/ 1517904 h 1640417"/>
              <a:gd name="connsiteX11-57" fmla="*/ 0 w 1636713"/>
              <a:gd name="connsiteY11-58" fmla="*/ 1005418 h 1640417"/>
              <a:gd name="connsiteX12-59" fmla="*/ 0 w 1636713"/>
              <a:gd name="connsiteY12-60" fmla="*/ 120398 h 1640417"/>
              <a:gd name="connsiteX13-61" fmla="*/ 120397 w 1636713"/>
              <a:gd name="connsiteY13-62" fmla="*/ 1 h 1640417"/>
              <a:gd name="connsiteX14-63" fmla="*/ 385763 w 1636713"/>
              <a:gd name="connsiteY14-64" fmla="*/ 1 h 1640417"/>
              <a:gd name="connsiteX15-65" fmla="*/ 385763 w 1636713"/>
              <a:gd name="connsiteY15-66" fmla="*/ 0 h 1640417"/>
              <a:gd name="connsiteX0-67" fmla="*/ 385763 w 1653171"/>
              <a:gd name="connsiteY0-68" fmla="*/ 0 h 1640417"/>
              <a:gd name="connsiteX1-69" fmla="*/ 1653018 w 1653171"/>
              <a:gd name="connsiteY1-70" fmla="*/ 0 h 1640417"/>
              <a:gd name="connsiteX2-71" fmla="*/ 1636713 w 1653171"/>
              <a:gd name="connsiteY2-72" fmla="*/ 1005418 h 1640417"/>
              <a:gd name="connsiteX3-73" fmla="*/ 1636713 w 1653171"/>
              <a:gd name="connsiteY3-74" fmla="*/ 1517904 h 1640417"/>
              <a:gd name="connsiteX4-75" fmla="*/ 1636713 w 1653171"/>
              <a:gd name="connsiteY4-76" fmla="*/ 1638831 h 1640417"/>
              <a:gd name="connsiteX5-77" fmla="*/ 1630363 w 1653171"/>
              <a:gd name="connsiteY5-78" fmla="*/ 1638831 h 1640417"/>
              <a:gd name="connsiteX6-79" fmla="*/ 1630363 w 1653171"/>
              <a:gd name="connsiteY6-80" fmla="*/ 1640417 h 1640417"/>
              <a:gd name="connsiteX7-81" fmla="*/ 385763 w 1653171"/>
              <a:gd name="connsiteY7-82" fmla="*/ 1640417 h 1640417"/>
              <a:gd name="connsiteX8-83" fmla="*/ 385763 w 1653171"/>
              <a:gd name="connsiteY8-84" fmla="*/ 1638831 h 1640417"/>
              <a:gd name="connsiteX9-85" fmla="*/ 0 w 1653171"/>
              <a:gd name="connsiteY9-86" fmla="*/ 1638831 h 1640417"/>
              <a:gd name="connsiteX10-87" fmla="*/ 0 w 1653171"/>
              <a:gd name="connsiteY10-88" fmla="*/ 1517904 h 1640417"/>
              <a:gd name="connsiteX11-89" fmla="*/ 0 w 1653171"/>
              <a:gd name="connsiteY11-90" fmla="*/ 1005418 h 1640417"/>
              <a:gd name="connsiteX12-91" fmla="*/ 0 w 1653171"/>
              <a:gd name="connsiteY12-92" fmla="*/ 120398 h 1640417"/>
              <a:gd name="connsiteX13-93" fmla="*/ 120397 w 1653171"/>
              <a:gd name="connsiteY13-94" fmla="*/ 1 h 1640417"/>
              <a:gd name="connsiteX14-95" fmla="*/ 385763 w 1653171"/>
              <a:gd name="connsiteY14-96" fmla="*/ 1 h 1640417"/>
              <a:gd name="connsiteX15-97" fmla="*/ 385763 w 1653171"/>
              <a:gd name="connsiteY15-98" fmla="*/ 0 h 1640417"/>
              <a:gd name="connsiteX0-99" fmla="*/ 385763 w 1638414"/>
              <a:gd name="connsiteY0-100" fmla="*/ 0 h 1640417"/>
              <a:gd name="connsiteX1-101" fmla="*/ 1637915 w 1638414"/>
              <a:gd name="connsiteY1-102" fmla="*/ 0 h 1640417"/>
              <a:gd name="connsiteX2-103" fmla="*/ 1636713 w 1638414"/>
              <a:gd name="connsiteY2-104" fmla="*/ 1005418 h 1640417"/>
              <a:gd name="connsiteX3-105" fmla="*/ 1636713 w 1638414"/>
              <a:gd name="connsiteY3-106" fmla="*/ 1517904 h 1640417"/>
              <a:gd name="connsiteX4-107" fmla="*/ 1636713 w 1638414"/>
              <a:gd name="connsiteY4-108" fmla="*/ 1638831 h 1640417"/>
              <a:gd name="connsiteX5-109" fmla="*/ 1630363 w 1638414"/>
              <a:gd name="connsiteY5-110" fmla="*/ 1638831 h 1640417"/>
              <a:gd name="connsiteX6-111" fmla="*/ 1630363 w 1638414"/>
              <a:gd name="connsiteY6-112" fmla="*/ 1640417 h 1640417"/>
              <a:gd name="connsiteX7-113" fmla="*/ 385763 w 1638414"/>
              <a:gd name="connsiteY7-114" fmla="*/ 1640417 h 1640417"/>
              <a:gd name="connsiteX8-115" fmla="*/ 385763 w 1638414"/>
              <a:gd name="connsiteY8-116" fmla="*/ 1638831 h 1640417"/>
              <a:gd name="connsiteX9-117" fmla="*/ 0 w 1638414"/>
              <a:gd name="connsiteY9-118" fmla="*/ 1638831 h 1640417"/>
              <a:gd name="connsiteX10-119" fmla="*/ 0 w 1638414"/>
              <a:gd name="connsiteY10-120" fmla="*/ 1517904 h 1640417"/>
              <a:gd name="connsiteX11-121" fmla="*/ 0 w 1638414"/>
              <a:gd name="connsiteY11-122" fmla="*/ 1005418 h 1640417"/>
              <a:gd name="connsiteX12-123" fmla="*/ 0 w 1638414"/>
              <a:gd name="connsiteY12-124" fmla="*/ 120398 h 1640417"/>
              <a:gd name="connsiteX13-125" fmla="*/ 120397 w 1638414"/>
              <a:gd name="connsiteY13-126" fmla="*/ 1 h 1640417"/>
              <a:gd name="connsiteX14-127" fmla="*/ 385763 w 1638414"/>
              <a:gd name="connsiteY14-128" fmla="*/ 1 h 1640417"/>
              <a:gd name="connsiteX15-129" fmla="*/ 385763 w 1638414"/>
              <a:gd name="connsiteY15-130" fmla="*/ 0 h 1640417"/>
              <a:gd name="connsiteX0-131" fmla="*/ 385763 w 1636713"/>
              <a:gd name="connsiteY0-132" fmla="*/ 0 h 1640417"/>
              <a:gd name="connsiteX1-133" fmla="*/ 1635309 w 1636713"/>
              <a:gd name="connsiteY1-134" fmla="*/ 0 h 1640417"/>
              <a:gd name="connsiteX2-135" fmla="*/ 1636713 w 1636713"/>
              <a:gd name="connsiteY2-136" fmla="*/ 1005418 h 1640417"/>
              <a:gd name="connsiteX3-137" fmla="*/ 1636713 w 1636713"/>
              <a:gd name="connsiteY3-138" fmla="*/ 1517904 h 1640417"/>
              <a:gd name="connsiteX4-139" fmla="*/ 1636713 w 1636713"/>
              <a:gd name="connsiteY4-140" fmla="*/ 1638831 h 1640417"/>
              <a:gd name="connsiteX5-141" fmla="*/ 1630363 w 1636713"/>
              <a:gd name="connsiteY5-142" fmla="*/ 1638831 h 1640417"/>
              <a:gd name="connsiteX6-143" fmla="*/ 1630363 w 1636713"/>
              <a:gd name="connsiteY6-144" fmla="*/ 1640417 h 1640417"/>
              <a:gd name="connsiteX7-145" fmla="*/ 385763 w 1636713"/>
              <a:gd name="connsiteY7-146" fmla="*/ 1640417 h 1640417"/>
              <a:gd name="connsiteX8-147" fmla="*/ 385763 w 1636713"/>
              <a:gd name="connsiteY8-148" fmla="*/ 1638831 h 1640417"/>
              <a:gd name="connsiteX9-149" fmla="*/ 0 w 1636713"/>
              <a:gd name="connsiteY9-150" fmla="*/ 1638831 h 1640417"/>
              <a:gd name="connsiteX10-151" fmla="*/ 0 w 1636713"/>
              <a:gd name="connsiteY10-152" fmla="*/ 1517904 h 1640417"/>
              <a:gd name="connsiteX11-153" fmla="*/ 0 w 1636713"/>
              <a:gd name="connsiteY11-154" fmla="*/ 1005418 h 1640417"/>
              <a:gd name="connsiteX12-155" fmla="*/ 0 w 1636713"/>
              <a:gd name="connsiteY12-156" fmla="*/ 120398 h 1640417"/>
              <a:gd name="connsiteX13-157" fmla="*/ 120397 w 1636713"/>
              <a:gd name="connsiteY13-158" fmla="*/ 1 h 1640417"/>
              <a:gd name="connsiteX14-159" fmla="*/ 385763 w 1636713"/>
              <a:gd name="connsiteY14-160" fmla="*/ 1 h 1640417"/>
              <a:gd name="connsiteX15-161" fmla="*/ 385763 w 1636713"/>
              <a:gd name="connsiteY15-162" fmla="*/ 0 h 164041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  <a:cxn ang="0">
                <a:pos x="connsiteX11-23" y="connsiteY11-24"/>
              </a:cxn>
              <a:cxn ang="0">
                <a:pos x="connsiteX12-25" y="connsiteY12-26"/>
              </a:cxn>
              <a:cxn ang="0">
                <a:pos x="connsiteX13-27" y="connsiteY13-28"/>
              </a:cxn>
              <a:cxn ang="0">
                <a:pos x="connsiteX14-29" y="connsiteY14-30"/>
              </a:cxn>
              <a:cxn ang="0">
                <a:pos x="connsiteX15-31" y="connsiteY15-32"/>
              </a:cxn>
            </a:cxnLst>
            <a:rect l="l" t="t" r="r" b="b"/>
            <a:pathLst>
              <a:path w="1636713" h="1640417">
                <a:moveTo>
                  <a:pt x="385763" y="0"/>
                </a:moveTo>
                <a:lnTo>
                  <a:pt x="1635309" y="0"/>
                </a:lnTo>
                <a:cubicBezTo>
                  <a:pt x="1637426" y="335139"/>
                  <a:pt x="1634596" y="670279"/>
                  <a:pt x="1636713" y="1005418"/>
                </a:cubicBezTo>
                <a:lnTo>
                  <a:pt x="1636713" y="1517904"/>
                </a:lnTo>
                <a:lnTo>
                  <a:pt x="1636713" y="1638831"/>
                </a:lnTo>
                <a:lnTo>
                  <a:pt x="1630363" y="1638831"/>
                </a:lnTo>
                <a:lnTo>
                  <a:pt x="1630363" y="1640417"/>
                </a:lnTo>
                <a:lnTo>
                  <a:pt x="385763" y="1640417"/>
                </a:lnTo>
                <a:lnTo>
                  <a:pt x="385763" y="1638831"/>
                </a:lnTo>
                <a:lnTo>
                  <a:pt x="0" y="1638831"/>
                </a:lnTo>
                <a:lnTo>
                  <a:pt x="0" y="1517904"/>
                </a:lnTo>
                <a:lnTo>
                  <a:pt x="0" y="1005418"/>
                </a:lnTo>
                <a:lnTo>
                  <a:pt x="0" y="120398"/>
                </a:lnTo>
                <a:cubicBezTo>
                  <a:pt x="0" y="53905"/>
                  <a:pt x="53904" y="1"/>
                  <a:pt x="120397" y="1"/>
                </a:cubicBezTo>
                <a:lnTo>
                  <a:pt x="385763" y="1"/>
                </a:lnTo>
                <a:lnTo>
                  <a:pt x="385763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24" name="图片占位符 33"/>
          <p:cNvSpPr>
            <a:spLocks noGrp="1"/>
          </p:cNvSpPr>
          <p:nvPr>
            <p:ph type="pic" sz="quarter" idx="21"/>
          </p:nvPr>
        </p:nvSpPr>
        <p:spPr>
          <a:xfrm>
            <a:off x="8920870" y="1763999"/>
            <a:ext cx="1937400" cy="1951799"/>
          </a:xfrm>
          <a:custGeom>
            <a:avLst/>
            <a:gdLst>
              <a:gd name="connsiteX0" fmla="*/ 111918 w 1636713"/>
              <a:gd name="connsiteY0" fmla="*/ 0 h 1639888"/>
              <a:gd name="connsiteX1" fmla="*/ 1524795 w 1636713"/>
              <a:gd name="connsiteY1" fmla="*/ 0 h 1639888"/>
              <a:gd name="connsiteX2" fmla="*/ 1636713 w 1636713"/>
              <a:gd name="connsiteY2" fmla="*/ 111918 h 1639888"/>
              <a:gd name="connsiteX3" fmla="*/ 1636713 w 1636713"/>
              <a:gd name="connsiteY3" fmla="*/ 688047 h 1639888"/>
              <a:gd name="connsiteX4" fmla="*/ 1636713 w 1636713"/>
              <a:gd name="connsiteY4" fmla="*/ 1527970 h 1639888"/>
              <a:gd name="connsiteX5" fmla="*/ 1636713 w 1636713"/>
              <a:gd name="connsiteY5" fmla="*/ 1639888 h 1639888"/>
              <a:gd name="connsiteX6" fmla="*/ 1524795 w 1636713"/>
              <a:gd name="connsiteY6" fmla="*/ 1639888 h 1639888"/>
              <a:gd name="connsiteX7" fmla="*/ 111918 w 1636713"/>
              <a:gd name="connsiteY7" fmla="*/ 1639888 h 1639888"/>
              <a:gd name="connsiteX8" fmla="*/ 0 w 1636713"/>
              <a:gd name="connsiteY8" fmla="*/ 1639888 h 1639888"/>
              <a:gd name="connsiteX9" fmla="*/ 0 w 1636713"/>
              <a:gd name="connsiteY9" fmla="*/ 1527970 h 1639888"/>
              <a:gd name="connsiteX10" fmla="*/ 0 w 1636713"/>
              <a:gd name="connsiteY10" fmla="*/ 1295865 h 1639888"/>
              <a:gd name="connsiteX11" fmla="*/ 0 w 1636713"/>
              <a:gd name="connsiteY11" fmla="*/ 688047 h 1639888"/>
              <a:gd name="connsiteX12" fmla="*/ 0 w 1636713"/>
              <a:gd name="connsiteY12" fmla="*/ 111918 h 1639888"/>
              <a:gd name="connsiteX13" fmla="*/ 0 w 1636713"/>
              <a:gd name="connsiteY13" fmla="*/ 1 h 1639888"/>
              <a:gd name="connsiteX14" fmla="*/ 111913 w 1636713"/>
              <a:gd name="connsiteY14" fmla="*/ 1 h 16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36713" h="1639888">
                <a:moveTo>
                  <a:pt x="111918" y="0"/>
                </a:moveTo>
                <a:lnTo>
                  <a:pt x="1524795" y="0"/>
                </a:lnTo>
                <a:cubicBezTo>
                  <a:pt x="1586606" y="0"/>
                  <a:pt x="1636713" y="50107"/>
                  <a:pt x="1636713" y="111918"/>
                </a:cubicBezTo>
                <a:lnTo>
                  <a:pt x="1636713" y="688047"/>
                </a:lnTo>
                <a:lnTo>
                  <a:pt x="1636713" y="1527970"/>
                </a:lnTo>
                <a:lnTo>
                  <a:pt x="1636713" y="1639888"/>
                </a:lnTo>
                <a:lnTo>
                  <a:pt x="1524795" y="1639888"/>
                </a:lnTo>
                <a:lnTo>
                  <a:pt x="111918" y="1639888"/>
                </a:lnTo>
                <a:lnTo>
                  <a:pt x="0" y="1639888"/>
                </a:lnTo>
                <a:lnTo>
                  <a:pt x="0" y="1527970"/>
                </a:lnTo>
                <a:lnTo>
                  <a:pt x="0" y="1295865"/>
                </a:lnTo>
                <a:lnTo>
                  <a:pt x="0" y="688047"/>
                </a:lnTo>
                <a:lnTo>
                  <a:pt x="0" y="111918"/>
                </a:lnTo>
                <a:lnTo>
                  <a:pt x="0" y="1"/>
                </a:lnTo>
                <a:lnTo>
                  <a:pt x="111913" y="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25" name="图片占位符 38"/>
          <p:cNvSpPr>
            <a:spLocks noGrp="1"/>
          </p:cNvSpPr>
          <p:nvPr>
            <p:ph type="pic" sz="quarter" idx="24"/>
          </p:nvPr>
        </p:nvSpPr>
        <p:spPr>
          <a:xfrm>
            <a:off x="6945807" y="3758225"/>
            <a:ext cx="1937400" cy="1941159"/>
          </a:xfrm>
          <a:custGeom>
            <a:avLst/>
            <a:gdLst>
              <a:gd name="connsiteX0" fmla="*/ 1 w 1636713"/>
              <a:gd name="connsiteY0" fmla="*/ 0 h 1639888"/>
              <a:gd name="connsiteX1" fmla="*/ 111918 w 1636713"/>
              <a:gd name="connsiteY1" fmla="*/ 0 h 1639888"/>
              <a:gd name="connsiteX2" fmla="*/ 535891 w 1636713"/>
              <a:gd name="connsiteY2" fmla="*/ 0 h 1639888"/>
              <a:gd name="connsiteX3" fmla="*/ 1524795 w 1636713"/>
              <a:gd name="connsiteY3" fmla="*/ 0 h 1639888"/>
              <a:gd name="connsiteX4" fmla="*/ 1636713 w 1636713"/>
              <a:gd name="connsiteY4" fmla="*/ 0 h 1639888"/>
              <a:gd name="connsiteX5" fmla="*/ 1636713 w 1636713"/>
              <a:gd name="connsiteY5" fmla="*/ 111918 h 1639888"/>
              <a:gd name="connsiteX6" fmla="*/ 1636713 w 1636713"/>
              <a:gd name="connsiteY6" fmla="*/ 1051455 h 1639888"/>
              <a:gd name="connsiteX7" fmla="*/ 1636713 w 1636713"/>
              <a:gd name="connsiteY7" fmla="*/ 1527970 h 1639888"/>
              <a:gd name="connsiteX8" fmla="*/ 1636713 w 1636713"/>
              <a:gd name="connsiteY8" fmla="*/ 1639888 h 1639888"/>
              <a:gd name="connsiteX9" fmla="*/ 1524795 w 1636713"/>
              <a:gd name="connsiteY9" fmla="*/ 1639888 h 1639888"/>
              <a:gd name="connsiteX10" fmla="*/ 535891 w 1636713"/>
              <a:gd name="connsiteY10" fmla="*/ 1639888 h 1639888"/>
              <a:gd name="connsiteX11" fmla="*/ 111918 w 1636713"/>
              <a:gd name="connsiteY11" fmla="*/ 1639888 h 1639888"/>
              <a:gd name="connsiteX12" fmla="*/ 0 w 1636713"/>
              <a:gd name="connsiteY12" fmla="*/ 1527970 h 1639888"/>
              <a:gd name="connsiteX13" fmla="*/ 0 w 1636713"/>
              <a:gd name="connsiteY13" fmla="*/ 111918 h 1639888"/>
              <a:gd name="connsiteX14" fmla="*/ 1 w 1636713"/>
              <a:gd name="connsiteY14" fmla="*/ 111913 h 16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36713" h="1639888">
                <a:moveTo>
                  <a:pt x="1" y="0"/>
                </a:moveTo>
                <a:lnTo>
                  <a:pt x="111918" y="0"/>
                </a:lnTo>
                <a:lnTo>
                  <a:pt x="535891" y="0"/>
                </a:lnTo>
                <a:lnTo>
                  <a:pt x="1524795" y="0"/>
                </a:lnTo>
                <a:lnTo>
                  <a:pt x="1636713" y="0"/>
                </a:lnTo>
                <a:lnTo>
                  <a:pt x="1636713" y="111918"/>
                </a:lnTo>
                <a:lnTo>
                  <a:pt x="1636713" y="1051455"/>
                </a:lnTo>
                <a:lnTo>
                  <a:pt x="1636713" y="1527970"/>
                </a:lnTo>
                <a:lnTo>
                  <a:pt x="1636713" y="1639888"/>
                </a:lnTo>
                <a:lnTo>
                  <a:pt x="1524795" y="1639888"/>
                </a:lnTo>
                <a:lnTo>
                  <a:pt x="535891" y="1639888"/>
                </a:lnTo>
                <a:lnTo>
                  <a:pt x="111918" y="1639888"/>
                </a:lnTo>
                <a:cubicBezTo>
                  <a:pt x="50107" y="1639888"/>
                  <a:pt x="0" y="1589781"/>
                  <a:pt x="0" y="1527970"/>
                </a:cubicBezTo>
                <a:lnTo>
                  <a:pt x="0" y="111918"/>
                </a:lnTo>
                <a:lnTo>
                  <a:pt x="1" y="11191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26" name="图片占位符 48"/>
          <p:cNvSpPr>
            <a:spLocks noGrp="1"/>
          </p:cNvSpPr>
          <p:nvPr>
            <p:ph type="pic" sz="quarter" idx="27"/>
          </p:nvPr>
        </p:nvSpPr>
        <p:spPr>
          <a:xfrm>
            <a:off x="8920867" y="3758225"/>
            <a:ext cx="1937403" cy="1941159"/>
          </a:xfrm>
          <a:custGeom>
            <a:avLst/>
            <a:gdLst>
              <a:gd name="connsiteX0" fmla="*/ 0 w 1636714"/>
              <a:gd name="connsiteY0" fmla="*/ 0 h 1639888"/>
              <a:gd name="connsiteX1" fmla="*/ 111918 w 1636714"/>
              <a:gd name="connsiteY1" fmla="*/ 0 h 1639888"/>
              <a:gd name="connsiteX2" fmla="*/ 1524795 w 1636714"/>
              <a:gd name="connsiteY2" fmla="*/ 0 h 1639888"/>
              <a:gd name="connsiteX3" fmla="*/ 1636714 w 1636714"/>
              <a:gd name="connsiteY3" fmla="*/ 0 h 1639888"/>
              <a:gd name="connsiteX4" fmla="*/ 1636714 w 1636714"/>
              <a:gd name="connsiteY4" fmla="*/ 784485 h 1639888"/>
              <a:gd name="connsiteX5" fmla="*/ 1636713 w 1636714"/>
              <a:gd name="connsiteY5" fmla="*/ 784485 h 1639888"/>
              <a:gd name="connsiteX6" fmla="*/ 1636713 w 1636714"/>
              <a:gd name="connsiteY6" fmla="*/ 1527970 h 1639888"/>
              <a:gd name="connsiteX7" fmla="*/ 1524795 w 1636714"/>
              <a:gd name="connsiteY7" fmla="*/ 1639888 h 1639888"/>
              <a:gd name="connsiteX8" fmla="*/ 1122891 w 1636714"/>
              <a:gd name="connsiteY8" fmla="*/ 1639888 h 1639888"/>
              <a:gd name="connsiteX9" fmla="*/ 111918 w 1636714"/>
              <a:gd name="connsiteY9" fmla="*/ 1639888 h 1639888"/>
              <a:gd name="connsiteX10" fmla="*/ 0 w 1636714"/>
              <a:gd name="connsiteY10" fmla="*/ 1639888 h 1639888"/>
              <a:gd name="connsiteX11" fmla="*/ 0 w 1636714"/>
              <a:gd name="connsiteY11" fmla="*/ 1527970 h 1639888"/>
              <a:gd name="connsiteX12" fmla="*/ 0 w 1636714"/>
              <a:gd name="connsiteY12" fmla="*/ 831845 h 1639888"/>
              <a:gd name="connsiteX13" fmla="*/ 0 w 1636714"/>
              <a:gd name="connsiteY13" fmla="*/ 784485 h 1639888"/>
              <a:gd name="connsiteX14" fmla="*/ 0 w 1636714"/>
              <a:gd name="connsiteY14" fmla="*/ 111918 h 16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36714" h="1639888">
                <a:moveTo>
                  <a:pt x="0" y="0"/>
                </a:moveTo>
                <a:lnTo>
                  <a:pt x="111918" y="0"/>
                </a:lnTo>
                <a:lnTo>
                  <a:pt x="1524795" y="0"/>
                </a:lnTo>
                <a:lnTo>
                  <a:pt x="1636714" y="0"/>
                </a:lnTo>
                <a:lnTo>
                  <a:pt x="1636714" y="784485"/>
                </a:lnTo>
                <a:lnTo>
                  <a:pt x="1636713" y="784485"/>
                </a:lnTo>
                <a:lnTo>
                  <a:pt x="1636713" y="1527970"/>
                </a:lnTo>
                <a:cubicBezTo>
                  <a:pt x="1636713" y="1589781"/>
                  <a:pt x="1586606" y="1639888"/>
                  <a:pt x="1524795" y="1639888"/>
                </a:cubicBezTo>
                <a:lnTo>
                  <a:pt x="1122891" y="1639888"/>
                </a:lnTo>
                <a:lnTo>
                  <a:pt x="111918" y="1639888"/>
                </a:lnTo>
                <a:lnTo>
                  <a:pt x="0" y="1639888"/>
                </a:lnTo>
                <a:lnTo>
                  <a:pt x="0" y="1527970"/>
                </a:lnTo>
                <a:lnTo>
                  <a:pt x="0" y="831845"/>
                </a:lnTo>
                <a:lnTo>
                  <a:pt x="0" y="784485"/>
                </a:lnTo>
                <a:lnTo>
                  <a:pt x="0" y="11191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27" name="文本占位符 11"/>
          <p:cNvSpPr>
            <a:spLocks noGrp="1"/>
          </p:cNvSpPr>
          <p:nvPr>
            <p:ph type="body" sz="quarter" idx="22" hasCustomPrompt="1"/>
          </p:nvPr>
        </p:nvSpPr>
        <p:spPr>
          <a:xfrm>
            <a:off x="648000" y="1764000"/>
            <a:ext cx="5854400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15561445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字右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1" name="矩形 10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7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6945807" y="1764000"/>
            <a:ext cx="3912464" cy="39353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22" hasCustomPrompt="1"/>
          </p:nvPr>
        </p:nvSpPr>
        <p:spPr>
          <a:xfrm>
            <a:off x="648000" y="1764000"/>
            <a:ext cx="5854400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09683039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表右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矩形 9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6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22" hasCustomPrompt="1"/>
          </p:nvPr>
        </p:nvSpPr>
        <p:spPr>
          <a:xfrm>
            <a:off x="5023527" y="1764000"/>
            <a:ext cx="5834744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8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648000" y="1764000"/>
            <a:ext cx="3969915" cy="39353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0918306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上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矩形 9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4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5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648000" y="1764000"/>
            <a:ext cx="10210270" cy="39353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6008112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双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1" name="矩形 10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19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648000" y="1764000"/>
            <a:ext cx="5003272" cy="277492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0" name="图表占位符 13"/>
          <p:cNvSpPr>
            <a:spLocks noGrp="1"/>
          </p:cNvSpPr>
          <p:nvPr>
            <p:ph type="chart" sz="quarter" idx="23"/>
          </p:nvPr>
        </p:nvSpPr>
        <p:spPr>
          <a:xfrm>
            <a:off x="5930900" y="1764000"/>
            <a:ext cx="4927370" cy="277492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1" name="文本占位符 11"/>
          <p:cNvSpPr>
            <a:spLocks noGrp="1"/>
          </p:cNvSpPr>
          <p:nvPr>
            <p:ph type="body" sz="quarter" idx="26" hasCustomPrompt="1"/>
          </p:nvPr>
        </p:nvSpPr>
        <p:spPr>
          <a:xfrm>
            <a:off x="648000" y="4838526"/>
            <a:ext cx="10210270" cy="86085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572872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9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20" name="图表占位符 13"/>
          <p:cNvSpPr>
            <a:spLocks noGrp="1"/>
          </p:cNvSpPr>
          <p:nvPr>
            <p:ph type="chart" sz="quarter" idx="15"/>
          </p:nvPr>
        </p:nvSpPr>
        <p:spPr>
          <a:xfrm>
            <a:off x="648001" y="1764000"/>
            <a:ext cx="6654500" cy="277492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1" name="图表占位符 13"/>
          <p:cNvSpPr>
            <a:spLocks noGrp="1"/>
          </p:cNvSpPr>
          <p:nvPr>
            <p:ph type="chart" sz="quarter" idx="23"/>
          </p:nvPr>
        </p:nvSpPr>
        <p:spPr>
          <a:xfrm>
            <a:off x="7607072" y="1764000"/>
            <a:ext cx="3251199" cy="12363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2" name="图表占位符 13"/>
          <p:cNvSpPr>
            <a:spLocks noGrp="1"/>
          </p:cNvSpPr>
          <p:nvPr>
            <p:ph type="chart" sz="quarter" idx="25"/>
          </p:nvPr>
        </p:nvSpPr>
        <p:spPr>
          <a:xfrm>
            <a:off x="7607072" y="3299973"/>
            <a:ext cx="3251199" cy="12389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23" name="文本占位符 11"/>
          <p:cNvSpPr>
            <a:spLocks noGrp="1"/>
          </p:cNvSpPr>
          <p:nvPr>
            <p:ph type="body" sz="quarter" idx="26" hasCustomPrompt="1"/>
          </p:nvPr>
        </p:nvSpPr>
        <p:spPr>
          <a:xfrm>
            <a:off x="648000" y="4838526"/>
            <a:ext cx="10210270" cy="86085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84989823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三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9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grpSp>
        <p:nvGrpSpPr>
          <p:cNvPr id="45" name="组合 44"/>
          <p:cNvGrpSpPr/>
          <p:nvPr userDrawn="1"/>
        </p:nvGrpSpPr>
        <p:grpSpPr>
          <a:xfrm>
            <a:off x="9109729" y="2112864"/>
            <a:ext cx="1762683" cy="1762683"/>
            <a:chOff x="5074007" y="2605210"/>
            <a:chExt cx="1376915" cy="1376915"/>
          </a:xfrm>
        </p:grpSpPr>
        <p:sp>
          <p:nvSpPr>
            <p:cNvPr id="46" name="矩形 45"/>
            <p:cNvSpPr/>
            <p:nvPr/>
          </p:nvSpPr>
          <p:spPr>
            <a:xfrm>
              <a:off x="5074007" y="2605210"/>
              <a:ext cx="1376915" cy="1376915"/>
            </a:xfrm>
            <a:prstGeom prst="rect">
              <a:avLst/>
            </a:prstGeom>
            <a:solidFill>
              <a:srgbClr val="629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sp>
          <p:nvSpPr>
            <p:cNvPr id="47" name="Freeform 19"/>
            <p:cNvSpPr/>
            <p:nvPr/>
          </p:nvSpPr>
          <p:spPr bwMode="auto">
            <a:xfrm>
              <a:off x="6145159" y="3078509"/>
              <a:ext cx="150832" cy="145379"/>
            </a:xfrm>
            <a:custGeom>
              <a:avLst/>
              <a:gdLst>
                <a:gd name="T0" fmla="*/ 83 w 83"/>
                <a:gd name="T1" fmla="*/ 26 h 80"/>
                <a:gd name="T2" fmla="*/ 57 w 83"/>
                <a:gd name="T3" fmla="*/ 26 h 80"/>
                <a:gd name="T4" fmla="*/ 57 w 83"/>
                <a:gd name="T5" fmla="*/ 0 h 80"/>
                <a:gd name="T6" fmla="*/ 29 w 83"/>
                <a:gd name="T7" fmla="*/ 0 h 80"/>
                <a:gd name="T8" fmla="*/ 29 w 83"/>
                <a:gd name="T9" fmla="*/ 26 h 80"/>
                <a:gd name="T10" fmla="*/ 0 w 83"/>
                <a:gd name="T11" fmla="*/ 26 h 80"/>
                <a:gd name="T12" fmla="*/ 0 w 83"/>
                <a:gd name="T13" fmla="*/ 54 h 80"/>
                <a:gd name="T14" fmla="*/ 29 w 83"/>
                <a:gd name="T15" fmla="*/ 54 h 80"/>
                <a:gd name="T16" fmla="*/ 29 w 83"/>
                <a:gd name="T17" fmla="*/ 80 h 80"/>
                <a:gd name="T18" fmla="*/ 57 w 83"/>
                <a:gd name="T19" fmla="*/ 80 h 80"/>
                <a:gd name="T20" fmla="*/ 57 w 83"/>
                <a:gd name="T21" fmla="*/ 54 h 80"/>
                <a:gd name="T22" fmla="*/ 83 w 83"/>
                <a:gd name="T23" fmla="*/ 54 h 80"/>
                <a:gd name="T24" fmla="*/ 83 w 83"/>
                <a:gd name="T25" fmla="*/ 2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80">
                  <a:moveTo>
                    <a:pt x="83" y="26"/>
                  </a:moveTo>
                  <a:lnTo>
                    <a:pt x="57" y="26"/>
                  </a:lnTo>
                  <a:lnTo>
                    <a:pt x="57" y="0"/>
                  </a:lnTo>
                  <a:lnTo>
                    <a:pt x="29" y="0"/>
                  </a:lnTo>
                  <a:lnTo>
                    <a:pt x="29" y="26"/>
                  </a:lnTo>
                  <a:lnTo>
                    <a:pt x="0" y="26"/>
                  </a:lnTo>
                  <a:lnTo>
                    <a:pt x="0" y="54"/>
                  </a:lnTo>
                  <a:lnTo>
                    <a:pt x="29" y="54"/>
                  </a:lnTo>
                  <a:lnTo>
                    <a:pt x="29" y="80"/>
                  </a:lnTo>
                  <a:lnTo>
                    <a:pt x="57" y="80"/>
                  </a:lnTo>
                  <a:lnTo>
                    <a:pt x="57" y="54"/>
                  </a:lnTo>
                  <a:lnTo>
                    <a:pt x="83" y="54"/>
                  </a:lnTo>
                  <a:lnTo>
                    <a:pt x="83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48" name="Freeform 20"/>
            <p:cNvSpPr/>
            <p:nvPr/>
          </p:nvSpPr>
          <p:spPr bwMode="auto">
            <a:xfrm>
              <a:off x="6099726" y="3274770"/>
              <a:ext cx="143562" cy="243510"/>
            </a:xfrm>
            <a:custGeom>
              <a:avLst/>
              <a:gdLst>
                <a:gd name="T0" fmla="*/ 17 w 25"/>
                <a:gd name="T1" fmla="*/ 25 h 42"/>
                <a:gd name="T2" fmla="*/ 8 w 25"/>
                <a:gd name="T3" fmla="*/ 34 h 42"/>
                <a:gd name="T4" fmla="*/ 5 w 25"/>
                <a:gd name="T5" fmla="*/ 34 h 42"/>
                <a:gd name="T6" fmla="*/ 0 w 25"/>
                <a:gd name="T7" fmla="*/ 38 h 42"/>
                <a:gd name="T8" fmla="*/ 5 w 25"/>
                <a:gd name="T9" fmla="*/ 42 h 42"/>
                <a:gd name="T10" fmla="*/ 8 w 25"/>
                <a:gd name="T11" fmla="*/ 42 h 42"/>
                <a:gd name="T12" fmla="*/ 25 w 25"/>
                <a:gd name="T13" fmla="*/ 25 h 42"/>
                <a:gd name="T14" fmla="*/ 25 w 25"/>
                <a:gd name="T15" fmla="*/ 0 h 42"/>
                <a:gd name="T16" fmla="*/ 17 w 25"/>
                <a:gd name="T17" fmla="*/ 0 h 42"/>
                <a:gd name="T18" fmla="*/ 17 w 25"/>
                <a:gd name="T19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42">
                  <a:moveTo>
                    <a:pt x="17" y="25"/>
                  </a:moveTo>
                  <a:cubicBezTo>
                    <a:pt x="17" y="30"/>
                    <a:pt x="13" y="34"/>
                    <a:pt x="8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2" y="34"/>
                    <a:pt x="0" y="36"/>
                    <a:pt x="0" y="38"/>
                  </a:cubicBezTo>
                  <a:cubicBezTo>
                    <a:pt x="0" y="41"/>
                    <a:pt x="2" y="42"/>
                    <a:pt x="5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18" y="42"/>
                    <a:pt x="25" y="35"/>
                    <a:pt x="25" y="25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7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49" name="Freeform 21"/>
            <p:cNvSpPr/>
            <p:nvPr/>
          </p:nvSpPr>
          <p:spPr bwMode="auto">
            <a:xfrm>
              <a:off x="5076621" y="2847719"/>
              <a:ext cx="1166668" cy="179908"/>
            </a:xfrm>
            <a:custGeom>
              <a:avLst/>
              <a:gdLst>
                <a:gd name="T0" fmla="*/ 186 w 203"/>
                <a:gd name="T1" fmla="*/ 0 h 31"/>
                <a:gd name="T2" fmla="*/ 0 w 203"/>
                <a:gd name="T3" fmla="*/ 0 h 31"/>
                <a:gd name="T4" fmla="*/ 0 w 203"/>
                <a:gd name="T5" fmla="*/ 9 h 31"/>
                <a:gd name="T6" fmla="*/ 186 w 203"/>
                <a:gd name="T7" fmla="*/ 9 h 31"/>
                <a:gd name="T8" fmla="*/ 195 w 203"/>
                <a:gd name="T9" fmla="*/ 17 h 31"/>
                <a:gd name="T10" fmla="*/ 195 w 203"/>
                <a:gd name="T11" fmla="*/ 31 h 31"/>
                <a:gd name="T12" fmla="*/ 203 w 203"/>
                <a:gd name="T13" fmla="*/ 31 h 31"/>
                <a:gd name="T14" fmla="*/ 203 w 203"/>
                <a:gd name="T15" fmla="*/ 17 h 31"/>
                <a:gd name="T16" fmla="*/ 186 w 203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31">
                  <a:moveTo>
                    <a:pt x="1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91" y="9"/>
                    <a:pt x="195" y="13"/>
                    <a:pt x="195" y="17"/>
                  </a:cubicBezTo>
                  <a:cubicBezTo>
                    <a:pt x="195" y="31"/>
                    <a:pt x="195" y="31"/>
                    <a:pt x="195" y="31"/>
                  </a:cubicBezTo>
                  <a:cubicBezTo>
                    <a:pt x="203" y="31"/>
                    <a:pt x="203" y="31"/>
                    <a:pt x="203" y="31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203" y="8"/>
                    <a:pt x="196" y="0"/>
                    <a:pt x="18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0" name="Freeform 22"/>
            <p:cNvSpPr>
              <a:spLocks noEditPoints="1"/>
            </p:cNvSpPr>
            <p:nvPr/>
          </p:nvSpPr>
          <p:spPr bwMode="auto">
            <a:xfrm>
              <a:off x="5278335" y="3580066"/>
              <a:ext cx="648756" cy="278039"/>
            </a:xfrm>
            <a:custGeom>
              <a:avLst/>
              <a:gdLst>
                <a:gd name="T0" fmla="*/ 113 w 113"/>
                <a:gd name="T1" fmla="*/ 31 h 48"/>
                <a:gd name="T2" fmla="*/ 95 w 113"/>
                <a:gd name="T3" fmla="*/ 12 h 48"/>
                <a:gd name="T4" fmla="*/ 70 w 113"/>
                <a:gd name="T5" fmla="*/ 2 h 48"/>
                <a:gd name="T6" fmla="*/ 55 w 113"/>
                <a:gd name="T7" fmla="*/ 0 h 48"/>
                <a:gd name="T8" fmla="*/ 42 w 113"/>
                <a:gd name="T9" fmla="*/ 2 h 48"/>
                <a:gd name="T10" fmla="*/ 18 w 113"/>
                <a:gd name="T11" fmla="*/ 12 h 48"/>
                <a:gd name="T12" fmla="*/ 0 w 113"/>
                <a:gd name="T13" fmla="*/ 31 h 48"/>
                <a:gd name="T14" fmla="*/ 1 w 113"/>
                <a:gd name="T15" fmla="*/ 34 h 48"/>
                <a:gd name="T16" fmla="*/ 58 w 113"/>
                <a:gd name="T17" fmla="*/ 48 h 48"/>
                <a:gd name="T18" fmla="*/ 110 w 113"/>
                <a:gd name="T19" fmla="*/ 38 h 48"/>
                <a:gd name="T20" fmla="*/ 113 w 113"/>
                <a:gd name="T21" fmla="*/ 32 h 48"/>
                <a:gd name="T22" fmla="*/ 113 w 113"/>
                <a:gd name="T23" fmla="*/ 31 h 48"/>
                <a:gd name="T24" fmla="*/ 58 w 113"/>
                <a:gd name="T25" fmla="*/ 40 h 48"/>
                <a:gd name="T26" fmla="*/ 9 w 113"/>
                <a:gd name="T27" fmla="*/ 31 h 48"/>
                <a:gd name="T28" fmla="*/ 22 w 113"/>
                <a:gd name="T29" fmla="*/ 19 h 48"/>
                <a:gd name="T30" fmla="*/ 44 w 113"/>
                <a:gd name="T31" fmla="*/ 10 h 48"/>
                <a:gd name="T32" fmla="*/ 45 w 113"/>
                <a:gd name="T33" fmla="*/ 10 h 48"/>
                <a:gd name="T34" fmla="*/ 55 w 113"/>
                <a:gd name="T35" fmla="*/ 9 h 48"/>
                <a:gd name="T36" fmla="*/ 69 w 113"/>
                <a:gd name="T37" fmla="*/ 10 h 48"/>
                <a:gd name="T38" fmla="*/ 90 w 113"/>
                <a:gd name="T39" fmla="*/ 19 h 48"/>
                <a:gd name="T40" fmla="*/ 104 w 113"/>
                <a:gd name="T41" fmla="*/ 32 h 48"/>
                <a:gd name="T42" fmla="*/ 58 w 113"/>
                <a:gd name="T43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3" h="48">
                  <a:moveTo>
                    <a:pt x="113" y="31"/>
                  </a:moveTo>
                  <a:cubicBezTo>
                    <a:pt x="111" y="24"/>
                    <a:pt x="105" y="18"/>
                    <a:pt x="95" y="12"/>
                  </a:cubicBezTo>
                  <a:cubicBezTo>
                    <a:pt x="86" y="6"/>
                    <a:pt x="75" y="3"/>
                    <a:pt x="70" y="2"/>
                  </a:cubicBezTo>
                  <a:cubicBezTo>
                    <a:pt x="65" y="1"/>
                    <a:pt x="60" y="0"/>
                    <a:pt x="55" y="0"/>
                  </a:cubicBezTo>
                  <a:cubicBezTo>
                    <a:pt x="48" y="0"/>
                    <a:pt x="43" y="1"/>
                    <a:pt x="42" y="2"/>
                  </a:cubicBezTo>
                  <a:cubicBezTo>
                    <a:pt x="37" y="3"/>
                    <a:pt x="27" y="7"/>
                    <a:pt x="18" y="12"/>
                  </a:cubicBezTo>
                  <a:cubicBezTo>
                    <a:pt x="8" y="18"/>
                    <a:pt x="2" y="24"/>
                    <a:pt x="0" y="31"/>
                  </a:cubicBezTo>
                  <a:cubicBezTo>
                    <a:pt x="0" y="32"/>
                    <a:pt x="0" y="33"/>
                    <a:pt x="1" y="34"/>
                  </a:cubicBezTo>
                  <a:cubicBezTo>
                    <a:pt x="2" y="36"/>
                    <a:pt x="10" y="48"/>
                    <a:pt x="58" y="48"/>
                  </a:cubicBezTo>
                  <a:cubicBezTo>
                    <a:pt x="86" y="48"/>
                    <a:pt x="104" y="45"/>
                    <a:pt x="110" y="38"/>
                  </a:cubicBezTo>
                  <a:cubicBezTo>
                    <a:pt x="113" y="35"/>
                    <a:pt x="113" y="32"/>
                    <a:pt x="113" y="32"/>
                  </a:cubicBezTo>
                  <a:cubicBezTo>
                    <a:pt x="113" y="31"/>
                    <a:pt x="113" y="31"/>
                    <a:pt x="113" y="31"/>
                  </a:cubicBezTo>
                  <a:close/>
                  <a:moveTo>
                    <a:pt x="58" y="40"/>
                  </a:moveTo>
                  <a:cubicBezTo>
                    <a:pt x="24" y="40"/>
                    <a:pt x="13" y="34"/>
                    <a:pt x="9" y="31"/>
                  </a:cubicBezTo>
                  <a:cubicBezTo>
                    <a:pt x="11" y="28"/>
                    <a:pt x="14" y="24"/>
                    <a:pt x="22" y="19"/>
                  </a:cubicBezTo>
                  <a:cubicBezTo>
                    <a:pt x="31" y="14"/>
                    <a:pt x="41" y="10"/>
                    <a:pt x="44" y="10"/>
                  </a:cubicBezTo>
                  <a:cubicBezTo>
                    <a:pt x="44" y="10"/>
                    <a:pt x="44" y="10"/>
                    <a:pt x="45" y="10"/>
                  </a:cubicBezTo>
                  <a:cubicBezTo>
                    <a:pt x="45" y="10"/>
                    <a:pt x="48" y="9"/>
                    <a:pt x="55" y="9"/>
                  </a:cubicBezTo>
                  <a:cubicBezTo>
                    <a:pt x="59" y="9"/>
                    <a:pt x="64" y="9"/>
                    <a:pt x="69" y="10"/>
                  </a:cubicBezTo>
                  <a:cubicBezTo>
                    <a:pt x="72" y="11"/>
                    <a:pt x="82" y="14"/>
                    <a:pt x="90" y="19"/>
                  </a:cubicBezTo>
                  <a:cubicBezTo>
                    <a:pt x="99" y="25"/>
                    <a:pt x="103" y="29"/>
                    <a:pt x="104" y="32"/>
                  </a:cubicBezTo>
                  <a:cubicBezTo>
                    <a:pt x="102" y="34"/>
                    <a:pt x="94" y="40"/>
                    <a:pt x="58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1" name="Freeform 23"/>
            <p:cNvSpPr>
              <a:spLocks noEditPoints="1"/>
            </p:cNvSpPr>
            <p:nvPr/>
          </p:nvSpPr>
          <p:spPr bwMode="auto">
            <a:xfrm>
              <a:off x="5450971" y="3263867"/>
              <a:ext cx="298027" cy="305295"/>
            </a:xfrm>
            <a:custGeom>
              <a:avLst/>
              <a:gdLst>
                <a:gd name="T0" fmla="*/ 0 w 52"/>
                <a:gd name="T1" fmla="*/ 26 h 53"/>
                <a:gd name="T2" fmla="*/ 26 w 52"/>
                <a:gd name="T3" fmla="*/ 53 h 53"/>
                <a:gd name="T4" fmla="*/ 52 w 52"/>
                <a:gd name="T5" fmla="*/ 26 h 53"/>
                <a:gd name="T6" fmla="*/ 26 w 52"/>
                <a:gd name="T7" fmla="*/ 0 h 53"/>
                <a:gd name="T8" fmla="*/ 0 w 52"/>
                <a:gd name="T9" fmla="*/ 26 h 53"/>
                <a:gd name="T10" fmla="*/ 26 w 52"/>
                <a:gd name="T11" fmla="*/ 9 h 53"/>
                <a:gd name="T12" fmla="*/ 44 w 52"/>
                <a:gd name="T13" fmla="*/ 26 h 53"/>
                <a:gd name="T14" fmla="*/ 26 w 52"/>
                <a:gd name="T15" fmla="*/ 44 h 53"/>
                <a:gd name="T16" fmla="*/ 9 w 52"/>
                <a:gd name="T17" fmla="*/ 26 h 53"/>
                <a:gd name="T18" fmla="*/ 26 w 52"/>
                <a:gd name="T19" fmla="*/ 9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3">
                  <a:moveTo>
                    <a:pt x="0" y="26"/>
                  </a:moveTo>
                  <a:cubicBezTo>
                    <a:pt x="0" y="41"/>
                    <a:pt x="12" y="53"/>
                    <a:pt x="26" y="53"/>
                  </a:cubicBezTo>
                  <a:cubicBezTo>
                    <a:pt x="41" y="53"/>
                    <a:pt x="52" y="41"/>
                    <a:pt x="52" y="26"/>
                  </a:cubicBezTo>
                  <a:cubicBezTo>
                    <a:pt x="52" y="12"/>
                    <a:pt x="41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lose/>
                  <a:moveTo>
                    <a:pt x="26" y="9"/>
                  </a:moveTo>
                  <a:cubicBezTo>
                    <a:pt x="36" y="9"/>
                    <a:pt x="44" y="17"/>
                    <a:pt x="44" y="26"/>
                  </a:cubicBezTo>
                  <a:cubicBezTo>
                    <a:pt x="44" y="36"/>
                    <a:pt x="36" y="44"/>
                    <a:pt x="26" y="44"/>
                  </a:cubicBezTo>
                  <a:cubicBezTo>
                    <a:pt x="17" y="44"/>
                    <a:pt x="9" y="36"/>
                    <a:pt x="9" y="26"/>
                  </a:cubicBezTo>
                  <a:cubicBezTo>
                    <a:pt x="9" y="17"/>
                    <a:pt x="17" y="9"/>
                    <a:pt x="26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2" name="Freeform 24"/>
            <p:cNvSpPr>
              <a:spLocks noEditPoints="1"/>
            </p:cNvSpPr>
            <p:nvPr/>
          </p:nvSpPr>
          <p:spPr bwMode="auto">
            <a:xfrm>
              <a:off x="5076621" y="3229341"/>
              <a:ext cx="408879" cy="461578"/>
            </a:xfrm>
            <a:custGeom>
              <a:avLst/>
              <a:gdLst>
                <a:gd name="T0" fmla="*/ 69 w 71"/>
                <a:gd name="T1" fmla="*/ 53 h 80"/>
                <a:gd name="T2" fmla="*/ 46 w 71"/>
                <a:gd name="T3" fmla="*/ 43 h 80"/>
                <a:gd name="T4" fmla="*/ 38 w 71"/>
                <a:gd name="T5" fmla="*/ 42 h 80"/>
                <a:gd name="T6" fmla="*/ 56 w 71"/>
                <a:gd name="T7" fmla="*/ 21 h 80"/>
                <a:gd name="T8" fmla="*/ 36 w 71"/>
                <a:gd name="T9" fmla="*/ 0 h 80"/>
                <a:gd name="T10" fmla="*/ 15 w 71"/>
                <a:gd name="T11" fmla="*/ 21 h 80"/>
                <a:gd name="T12" fmla="*/ 33 w 71"/>
                <a:gd name="T13" fmla="*/ 42 h 80"/>
                <a:gd name="T14" fmla="*/ 25 w 71"/>
                <a:gd name="T15" fmla="*/ 43 h 80"/>
                <a:gd name="T16" fmla="*/ 6 w 71"/>
                <a:gd name="T17" fmla="*/ 51 h 80"/>
                <a:gd name="T18" fmla="*/ 0 w 71"/>
                <a:gd name="T19" fmla="*/ 55 h 80"/>
                <a:gd name="T20" fmla="*/ 0 w 71"/>
                <a:gd name="T21" fmla="*/ 74 h 80"/>
                <a:gd name="T22" fmla="*/ 38 w 71"/>
                <a:gd name="T23" fmla="*/ 80 h 80"/>
                <a:gd name="T24" fmla="*/ 42 w 71"/>
                <a:gd name="T25" fmla="*/ 76 h 80"/>
                <a:gd name="T26" fmla="*/ 38 w 71"/>
                <a:gd name="T27" fmla="*/ 71 h 80"/>
                <a:gd name="T28" fmla="*/ 2 w 71"/>
                <a:gd name="T29" fmla="*/ 66 h 80"/>
                <a:gd name="T30" fmla="*/ 11 w 71"/>
                <a:gd name="T31" fmla="*/ 58 h 80"/>
                <a:gd name="T32" fmla="*/ 26 w 71"/>
                <a:gd name="T33" fmla="*/ 51 h 80"/>
                <a:gd name="T34" fmla="*/ 27 w 71"/>
                <a:gd name="T35" fmla="*/ 51 h 80"/>
                <a:gd name="T36" fmla="*/ 45 w 71"/>
                <a:gd name="T37" fmla="*/ 51 h 80"/>
                <a:gd name="T38" fmla="*/ 64 w 71"/>
                <a:gd name="T39" fmla="*/ 60 h 80"/>
                <a:gd name="T40" fmla="*/ 70 w 71"/>
                <a:gd name="T41" fmla="*/ 59 h 80"/>
                <a:gd name="T42" fmla="*/ 69 w 71"/>
                <a:gd name="T43" fmla="*/ 53 h 80"/>
                <a:gd name="T44" fmla="*/ 23 w 71"/>
                <a:gd name="T45" fmla="*/ 21 h 80"/>
                <a:gd name="T46" fmla="*/ 36 w 71"/>
                <a:gd name="T47" fmla="*/ 9 h 80"/>
                <a:gd name="T48" fmla="*/ 48 w 71"/>
                <a:gd name="T49" fmla="*/ 21 h 80"/>
                <a:gd name="T50" fmla="*/ 36 w 71"/>
                <a:gd name="T51" fmla="*/ 33 h 80"/>
                <a:gd name="T52" fmla="*/ 23 w 71"/>
                <a:gd name="T53" fmla="*/ 2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" h="80">
                  <a:moveTo>
                    <a:pt x="69" y="53"/>
                  </a:moveTo>
                  <a:cubicBezTo>
                    <a:pt x="61" y="48"/>
                    <a:pt x="50" y="43"/>
                    <a:pt x="46" y="43"/>
                  </a:cubicBezTo>
                  <a:cubicBezTo>
                    <a:pt x="43" y="42"/>
                    <a:pt x="40" y="42"/>
                    <a:pt x="38" y="42"/>
                  </a:cubicBezTo>
                  <a:cubicBezTo>
                    <a:pt x="48" y="41"/>
                    <a:pt x="56" y="32"/>
                    <a:pt x="56" y="21"/>
                  </a:cubicBezTo>
                  <a:cubicBezTo>
                    <a:pt x="56" y="10"/>
                    <a:pt x="47" y="0"/>
                    <a:pt x="36" y="0"/>
                  </a:cubicBezTo>
                  <a:cubicBezTo>
                    <a:pt x="24" y="0"/>
                    <a:pt x="15" y="10"/>
                    <a:pt x="15" y="21"/>
                  </a:cubicBezTo>
                  <a:cubicBezTo>
                    <a:pt x="15" y="32"/>
                    <a:pt x="23" y="40"/>
                    <a:pt x="33" y="42"/>
                  </a:cubicBezTo>
                  <a:cubicBezTo>
                    <a:pt x="29" y="42"/>
                    <a:pt x="26" y="42"/>
                    <a:pt x="25" y="43"/>
                  </a:cubicBezTo>
                  <a:cubicBezTo>
                    <a:pt x="21" y="43"/>
                    <a:pt x="13" y="47"/>
                    <a:pt x="6" y="51"/>
                  </a:cubicBezTo>
                  <a:cubicBezTo>
                    <a:pt x="4" y="52"/>
                    <a:pt x="1" y="54"/>
                    <a:pt x="0" y="5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6" y="77"/>
                    <a:pt x="17" y="80"/>
                    <a:pt x="38" y="80"/>
                  </a:cubicBezTo>
                  <a:cubicBezTo>
                    <a:pt x="40" y="80"/>
                    <a:pt x="42" y="78"/>
                    <a:pt x="42" y="76"/>
                  </a:cubicBezTo>
                  <a:cubicBezTo>
                    <a:pt x="42" y="73"/>
                    <a:pt x="40" y="71"/>
                    <a:pt x="38" y="71"/>
                  </a:cubicBezTo>
                  <a:cubicBezTo>
                    <a:pt x="14" y="71"/>
                    <a:pt x="5" y="68"/>
                    <a:pt x="2" y="66"/>
                  </a:cubicBezTo>
                  <a:cubicBezTo>
                    <a:pt x="3" y="64"/>
                    <a:pt x="5" y="61"/>
                    <a:pt x="11" y="58"/>
                  </a:cubicBezTo>
                  <a:cubicBezTo>
                    <a:pt x="17" y="54"/>
                    <a:pt x="24" y="51"/>
                    <a:pt x="26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7" y="51"/>
                    <a:pt x="33" y="49"/>
                    <a:pt x="45" y="51"/>
                  </a:cubicBezTo>
                  <a:cubicBezTo>
                    <a:pt x="47" y="51"/>
                    <a:pt x="57" y="55"/>
                    <a:pt x="64" y="60"/>
                  </a:cubicBezTo>
                  <a:cubicBezTo>
                    <a:pt x="66" y="61"/>
                    <a:pt x="69" y="61"/>
                    <a:pt x="70" y="59"/>
                  </a:cubicBezTo>
                  <a:cubicBezTo>
                    <a:pt x="71" y="57"/>
                    <a:pt x="71" y="54"/>
                    <a:pt x="69" y="53"/>
                  </a:cubicBezTo>
                  <a:close/>
                  <a:moveTo>
                    <a:pt x="23" y="21"/>
                  </a:moveTo>
                  <a:cubicBezTo>
                    <a:pt x="23" y="14"/>
                    <a:pt x="29" y="9"/>
                    <a:pt x="36" y="9"/>
                  </a:cubicBezTo>
                  <a:cubicBezTo>
                    <a:pt x="42" y="9"/>
                    <a:pt x="48" y="14"/>
                    <a:pt x="48" y="21"/>
                  </a:cubicBezTo>
                  <a:cubicBezTo>
                    <a:pt x="48" y="28"/>
                    <a:pt x="42" y="33"/>
                    <a:pt x="36" y="33"/>
                  </a:cubicBezTo>
                  <a:cubicBezTo>
                    <a:pt x="29" y="33"/>
                    <a:pt x="23" y="28"/>
                    <a:pt x="23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3" name="Freeform 25"/>
            <p:cNvSpPr>
              <a:spLocks noEditPoints="1"/>
            </p:cNvSpPr>
            <p:nvPr/>
          </p:nvSpPr>
          <p:spPr bwMode="auto">
            <a:xfrm>
              <a:off x="5738096" y="3229341"/>
              <a:ext cx="425234" cy="461578"/>
            </a:xfrm>
            <a:custGeom>
              <a:avLst/>
              <a:gdLst>
                <a:gd name="T0" fmla="*/ 60 w 74"/>
                <a:gd name="T1" fmla="*/ 51 h 80"/>
                <a:gd name="T2" fmla="*/ 42 w 74"/>
                <a:gd name="T3" fmla="*/ 43 h 80"/>
                <a:gd name="T4" fmla="*/ 33 w 74"/>
                <a:gd name="T5" fmla="*/ 42 h 80"/>
                <a:gd name="T6" fmla="*/ 51 w 74"/>
                <a:gd name="T7" fmla="*/ 21 h 80"/>
                <a:gd name="T8" fmla="*/ 31 w 74"/>
                <a:gd name="T9" fmla="*/ 0 h 80"/>
                <a:gd name="T10" fmla="*/ 10 w 74"/>
                <a:gd name="T11" fmla="*/ 21 h 80"/>
                <a:gd name="T12" fmla="*/ 28 w 74"/>
                <a:gd name="T13" fmla="*/ 42 h 80"/>
                <a:gd name="T14" fmla="*/ 20 w 74"/>
                <a:gd name="T15" fmla="*/ 43 h 80"/>
                <a:gd name="T16" fmla="*/ 2 w 74"/>
                <a:gd name="T17" fmla="*/ 50 h 80"/>
                <a:gd name="T18" fmla="*/ 1 w 74"/>
                <a:gd name="T19" fmla="*/ 56 h 80"/>
                <a:gd name="T20" fmla="*/ 7 w 74"/>
                <a:gd name="T21" fmla="*/ 57 h 80"/>
                <a:gd name="T22" fmla="*/ 21 w 74"/>
                <a:gd name="T23" fmla="*/ 51 h 80"/>
                <a:gd name="T24" fmla="*/ 39 w 74"/>
                <a:gd name="T25" fmla="*/ 51 h 80"/>
                <a:gd name="T26" fmla="*/ 40 w 74"/>
                <a:gd name="T27" fmla="*/ 51 h 80"/>
                <a:gd name="T28" fmla="*/ 56 w 74"/>
                <a:gd name="T29" fmla="*/ 58 h 80"/>
                <a:gd name="T30" fmla="*/ 65 w 74"/>
                <a:gd name="T31" fmla="*/ 66 h 80"/>
                <a:gd name="T32" fmla="*/ 35 w 74"/>
                <a:gd name="T33" fmla="*/ 71 h 80"/>
                <a:gd name="T34" fmla="*/ 31 w 74"/>
                <a:gd name="T35" fmla="*/ 76 h 80"/>
                <a:gd name="T36" fmla="*/ 35 w 74"/>
                <a:gd name="T37" fmla="*/ 80 h 80"/>
                <a:gd name="T38" fmla="*/ 35 w 74"/>
                <a:gd name="T39" fmla="*/ 80 h 80"/>
                <a:gd name="T40" fmla="*/ 74 w 74"/>
                <a:gd name="T41" fmla="*/ 68 h 80"/>
                <a:gd name="T42" fmla="*/ 74 w 74"/>
                <a:gd name="T43" fmla="*/ 65 h 80"/>
                <a:gd name="T44" fmla="*/ 60 w 74"/>
                <a:gd name="T45" fmla="*/ 51 h 80"/>
                <a:gd name="T46" fmla="*/ 18 w 74"/>
                <a:gd name="T47" fmla="*/ 21 h 80"/>
                <a:gd name="T48" fmla="*/ 31 w 74"/>
                <a:gd name="T49" fmla="*/ 9 h 80"/>
                <a:gd name="T50" fmla="*/ 43 w 74"/>
                <a:gd name="T51" fmla="*/ 21 h 80"/>
                <a:gd name="T52" fmla="*/ 31 w 74"/>
                <a:gd name="T53" fmla="*/ 33 h 80"/>
                <a:gd name="T54" fmla="*/ 18 w 74"/>
                <a:gd name="T55" fmla="*/ 2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4" h="80">
                  <a:moveTo>
                    <a:pt x="60" y="51"/>
                  </a:moveTo>
                  <a:cubicBezTo>
                    <a:pt x="53" y="47"/>
                    <a:pt x="45" y="43"/>
                    <a:pt x="42" y="43"/>
                  </a:cubicBezTo>
                  <a:cubicBezTo>
                    <a:pt x="40" y="42"/>
                    <a:pt x="38" y="42"/>
                    <a:pt x="33" y="42"/>
                  </a:cubicBezTo>
                  <a:cubicBezTo>
                    <a:pt x="43" y="40"/>
                    <a:pt x="51" y="32"/>
                    <a:pt x="51" y="21"/>
                  </a:cubicBezTo>
                  <a:cubicBezTo>
                    <a:pt x="51" y="10"/>
                    <a:pt x="42" y="0"/>
                    <a:pt x="31" y="0"/>
                  </a:cubicBezTo>
                  <a:cubicBezTo>
                    <a:pt x="19" y="0"/>
                    <a:pt x="10" y="10"/>
                    <a:pt x="10" y="21"/>
                  </a:cubicBezTo>
                  <a:cubicBezTo>
                    <a:pt x="10" y="32"/>
                    <a:pt x="18" y="41"/>
                    <a:pt x="28" y="42"/>
                  </a:cubicBezTo>
                  <a:cubicBezTo>
                    <a:pt x="26" y="42"/>
                    <a:pt x="23" y="42"/>
                    <a:pt x="20" y="43"/>
                  </a:cubicBezTo>
                  <a:cubicBezTo>
                    <a:pt x="17" y="43"/>
                    <a:pt x="10" y="46"/>
                    <a:pt x="2" y="50"/>
                  </a:cubicBezTo>
                  <a:cubicBezTo>
                    <a:pt x="0" y="51"/>
                    <a:pt x="0" y="54"/>
                    <a:pt x="1" y="56"/>
                  </a:cubicBezTo>
                  <a:cubicBezTo>
                    <a:pt x="2" y="58"/>
                    <a:pt x="5" y="59"/>
                    <a:pt x="7" y="57"/>
                  </a:cubicBezTo>
                  <a:cubicBezTo>
                    <a:pt x="13" y="54"/>
                    <a:pt x="19" y="51"/>
                    <a:pt x="21" y="51"/>
                  </a:cubicBezTo>
                  <a:cubicBezTo>
                    <a:pt x="33" y="49"/>
                    <a:pt x="39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2" y="51"/>
                    <a:pt x="49" y="54"/>
                    <a:pt x="56" y="58"/>
                  </a:cubicBezTo>
                  <a:cubicBezTo>
                    <a:pt x="61" y="61"/>
                    <a:pt x="64" y="64"/>
                    <a:pt x="65" y="66"/>
                  </a:cubicBezTo>
                  <a:cubicBezTo>
                    <a:pt x="62" y="67"/>
                    <a:pt x="55" y="71"/>
                    <a:pt x="35" y="71"/>
                  </a:cubicBezTo>
                  <a:cubicBezTo>
                    <a:pt x="32" y="71"/>
                    <a:pt x="31" y="73"/>
                    <a:pt x="31" y="76"/>
                  </a:cubicBezTo>
                  <a:cubicBezTo>
                    <a:pt x="31" y="78"/>
                    <a:pt x="32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68" y="79"/>
                    <a:pt x="73" y="70"/>
                    <a:pt x="74" y="68"/>
                  </a:cubicBezTo>
                  <a:cubicBezTo>
                    <a:pt x="74" y="67"/>
                    <a:pt x="74" y="66"/>
                    <a:pt x="74" y="65"/>
                  </a:cubicBezTo>
                  <a:cubicBezTo>
                    <a:pt x="72" y="60"/>
                    <a:pt x="68" y="55"/>
                    <a:pt x="60" y="51"/>
                  </a:cubicBezTo>
                  <a:close/>
                  <a:moveTo>
                    <a:pt x="18" y="21"/>
                  </a:moveTo>
                  <a:cubicBezTo>
                    <a:pt x="18" y="14"/>
                    <a:pt x="24" y="9"/>
                    <a:pt x="31" y="9"/>
                  </a:cubicBezTo>
                  <a:cubicBezTo>
                    <a:pt x="37" y="9"/>
                    <a:pt x="43" y="14"/>
                    <a:pt x="43" y="21"/>
                  </a:cubicBezTo>
                  <a:cubicBezTo>
                    <a:pt x="43" y="28"/>
                    <a:pt x="37" y="33"/>
                    <a:pt x="31" y="33"/>
                  </a:cubicBezTo>
                  <a:cubicBezTo>
                    <a:pt x="24" y="33"/>
                    <a:pt x="18" y="28"/>
                    <a:pt x="18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</p:grpSp>
      <p:grpSp>
        <p:nvGrpSpPr>
          <p:cNvPr id="54" name="组合 53"/>
          <p:cNvGrpSpPr/>
          <p:nvPr userDrawn="1"/>
        </p:nvGrpSpPr>
        <p:grpSpPr>
          <a:xfrm>
            <a:off x="6325263" y="2118575"/>
            <a:ext cx="1762683" cy="1762683"/>
            <a:chOff x="7254587" y="2605210"/>
            <a:chExt cx="1376915" cy="1376915"/>
          </a:xfrm>
        </p:grpSpPr>
        <p:sp>
          <p:nvSpPr>
            <p:cNvPr id="55" name="矩形 54"/>
            <p:cNvSpPr/>
            <p:nvPr/>
          </p:nvSpPr>
          <p:spPr>
            <a:xfrm>
              <a:off x="7254587" y="2605210"/>
              <a:ext cx="1376915" cy="1376915"/>
            </a:xfrm>
            <a:prstGeom prst="rect">
              <a:avLst/>
            </a:prstGeom>
            <a:solidFill>
              <a:srgbClr val="A1A1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grpSp>
          <p:nvGrpSpPr>
            <p:cNvPr id="56" name="组合 55"/>
            <p:cNvGrpSpPr/>
            <p:nvPr/>
          </p:nvGrpSpPr>
          <p:grpSpPr>
            <a:xfrm>
              <a:off x="7254587" y="2789568"/>
              <a:ext cx="1090344" cy="1010387"/>
              <a:chOff x="7255368" y="2789568"/>
              <a:chExt cx="1090344" cy="1010387"/>
            </a:xfrm>
          </p:grpSpPr>
          <p:sp>
            <p:nvSpPr>
              <p:cNvPr id="57" name="Freeform 11"/>
              <p:cNvSpPr/>
              <p:nvPr/>
            </p:nvSpPr>
            <p:spPr bwMode="auto">
              <a:xfrm>
                <a:off x="7255368" y="3547358"/>
                <a:ext cx="556074" cy="67239"/>
              </a:xfrm>
              <a:custGeom>
                <a:avLst/>
                <a:gdLst>
                  <a:gd name="T0" fmla="*/ 75 w 75"/>
                  <a:gd name="T1" fmla="*/ 9 h 9"/>
                  <a:gd name="T2" fmla="*/ 75 w 75"/>
                  <a:gd name="T3" fmla="*/ 1 h 9"/>
                  <a:gd name="T4" fmla="*/ 7 w 75"/>
                  <a:gd name="T5" fmla="*/ 1 h 9"/>
                  <a:gd name="T6" fmla="*/ 0 w 75"/>
                  <a:gd name="T7" fmla="*/ 0 h 9"/>
                  <a:gd name="T8" fmla="*/ 0 w 75"/>
                  <a:gd name="T9" fmla="*/ 7 h 9"/>
                  <a:gd name="T10" fmla="*/ 7 w 75"/>
                  <a:gd name="T11" fmla="*/ 9 h 9"/>
                  <a:gd name="T12" fmla="*/ 75 w 75"/>
                  <a:gd name="T1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5" h="9">
                    <a:moveTo>
                      <a:pt x="75" y="9"/>
                    </a:moveTo>
                    <a:cubicBezTo>
                      <a:pt x="75" y="1"/>
                      <a:pt x="75" y="1"/>
                      <a:pt x="75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4" y="1"/>
                      <a:pt x="2" y="1"/>
                      <a:pt x="0" y="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8"/>
                      <a:pt x="4" y="9"/>
                      <a:pt x="7" y="9"/>
                    </a:cubicBezTo>
                    <a:lnTo>
                      <a:pt x="75" y="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Freeform 12"/>
              <p:cNvSpPr>
                <a:spLocks noEditPoints="1"/>
              </p:cNvSpPr>
              <p:nvPr/>
            </p:nvSpPr>
            <p:spPr bwMode="auto">
              <a:xfrm>
                <a:off x="7582471" y="3027628"/>
                <a:ext cx="318017" cy="356178"/>
              </a:xfrm>
              <a:custGeom>
                <a:avLst/>
                <a:gdLst>
                  <a:gd name="T0" fmla="*/ 43 w 43"/>
                  <a:gd name="T1" fmla="*/ 23 h 48"/>
                  <a:gd name="T2" fmla="*/ 43 w 43"/>
                  <a:gd name="T3" fmla="*/ 22 h 48"/>
                  <a:gd name="T4" fmla="*/ 43 w 43"/>
                  <a:gd name="T5" fmla="*/ 22 h 48"/>
                  <a:gd name="T6" fmla="*/ 42 w 43"/>
                  <a:gd name="T7" fmla="*/ 22 h 48"/>
                  <a:gd name="T8" fmla="*/ 42 w 43"/>
                  <a:gd name="T9" fmla="*/ 21 h 48"/>
                  <a:gd name="T10" fmla="*/ 42 w 43"/>
                  <a:gd name="T11" fmla="*/ 21 h 48"/>
                  <a:gd name="T12" fmla="*/ 5 w 43"/>
                  <a:gd name="T13" fmla="*/ 0 h 48"/>
                  <a:gd name="T14" fmla="*/ 5 w 43"/>
                  <a:gd name="T15" fmla="*/ 0 h 48"/>
                  <a:gd name="T16" fmla="*/ 4 w 43"/>
                  <a:gd name="T17" fmla="*/ 0 h 48"/>
                  <a:gd name="T18" fmla="*/ 3 w 43"/>
                  <a:gd name="T19" fmla="*/ 0 h 48"/>
                  <a:gd name="T20" fmla="*/ 3 w 43"/>
                  <a:gd name="T21" fmla="*/ 0 h 48"/>
                  <a:gd name="T22" fmla="*/ 3 w 43"/>
                  <a:gd name="T23" fmla="*/ 0 h 48"/>
                  <a:gd name="T24" fmla="*/ 2 w 43"/>
                  <a:gd name="T25" fmla="*/ 0 h 48"/>
                  <a:gd name="T26" fmla="*/ 1 w 43"/>
                  <a:gd name="T27" fmla="*/ 0 h 48"/>
                  <a:gd name="T28" fmla="*/ 1 w 43"/>
                  <a:gd name="T29" fmla="*/ 1 h 48"/>
                  <a:gd name="T30" fmla="*/ 0 w 43"/>
                  <a:gd name="T31" fmla="*/ 1 h 48"/>
                  <a:gd name="T32" fmla="*/ 0 w 43"/>
                  <a:gd name="T33" fmla="*/ 2 h 48"/>
                  <a:gd name="T34" fmla="*/ 0 w 43"/>
                  <a:gd name="T35" fmla="*/ 2 h 48"/>
                  <a:gd name="T36" fmla="*/ 0 w 43"/>
                  <a:gd name="T37" fmla="*/ 2 h 48"/>
                  <a:gd name="T38" fmla="*/ 0 w 43"/>
                  <a:gd name="T39" fmla="*/ 3 h 48"/>
                  <a:gd name="T40" fmla="*/ 0 w 43"/>
                  <a:gd name="T41" fmla="*/ 3 h 48"/>
                  <a:gd name="T42" fmla="*/ 0 w 43"/>
                  <a:gd name="T43" fmla="*/ 45 h 48"/>
                  <a:gd name="T44" fmla="*/ 0 w 43"/>
                  <a:gd name="T45" fmla="*/ 45 h 48"/>
                  <a:gd name="T46" fmla="*/ 0 w 43"/>
                  <a:gd name="T47" fmla="*/ 46 h 48"/>
                  <a:gd name="T48" fmla="*/ 0 w 43"/>
                  <a:gd name="T49" fmla="*/ 46 h 48"/>
                  <a:gd name="T50" fmla="*/ 0 w 43"/>
                  <a:gd name="T51" fmla="*/ 47 h 48"/>
                  <a:gd name="T52" fmla="*/ 2 w 43"/>
                  <a:gd name="T53" fmla="*/ 48 h 48"/>
                  <a:gd name="T54" fmla="*/ 2 w 43"/>
                  <a:gd name="T55" fmla="*/ 48 h 48"/>
                  <a:gd name="T56" fmla="*/ 3 w 43"/>
                  <a:gd name="T57" fmla="*/ 48 h 48"/>
                  <a:gd name="T58" fmla="*/ 3 w 43"/>
                  <a:gd name="T59" fmla="*/ 48 h 48"/>
                  <a:gd name="T60" fmla="*/ 3 w 43"/>
                  <a:gd name="T61" fmla="*/ 48 h 48"/>
                  <a:gd name="T62" fmla="*/ 3 w 43"/>
                  <a:gd name="T63" fmla="*/ 48 h 48"/>
                  <a:gd name="T64" fmla="*/ 4 w 43"/>
                  <a:gd name="T65" fmla="*/ 48 h 48"/>
                  <a:gd name="T66" fmla="*/ 5 w 43"/>
                  <a:gd name="T67" fmla="*/ 48 h 48"/>
                  <a:gd name="T68" fmla="*/ 5 w 43"/>
                  <a:gd name="T69" fmla="*/ 48 h 48"/>
                  <a:gd name="T70" fmla="*/ 42 w 43"/>
                  <a:gd name="T71" fmla="*/ 27 h 48"/>
                  <a:gd name="T72" fmla="*/ 42 w 43"/>
                  <a:gd name="T73" fmla="*/ 27 h 48"/>
                  <a:gd name="T74" fmla="*/ 43 w 43"/>
                  <a:gd name="T75" fmla="*/ 26 h 48"/>
                  <a:gd name="T76" fmla="*/ 43 w 43"/>
                  <a:gd name="T77" fmla="*/ 26 h 48"/>
                  <a:gd name="T78" fmla="*/ 43 w 43"/>
                  <a:gd name="T79" fmla="*/ 26 h 48"/>
                  <a:gd name="T80" fmla="*/ 43 w 43"/>
                  <a:gd name="T81" fmla="*/ 25 h 48"/>
                  <a:gd name="T82" fmla="*/ 43 w 43"/>
                  <a:gd name="T83" fmla="*/ 25 h 48"/>
                  <a:gd name="T84" fmla="*/ 43 w 43"/>
                  <a:gd name="T85" fmla="*/ 24 h 48"/>
                  <a:gd name="T86" fmla="*/ 43 w 43"/>
                  <a:gd name="T87" fmla="*/ 23 h 48"/>
                  <a:gd name="T88" fmla="*/ 43 w 43"/>
                  <a:gd name="T89" fmla="*/ 23 h 48"/>
                  <a:gd name="T90" fmla="*/ 7 w 43"/>
                  <a:gd name="T91" fmla="*/ 39 h 48"/>
                  <a:gd name="T92" fmla="*/ 7 w 43"/>
                  <a:gd name="T93" fmla="*/ 9 h 48"/>
                  <a:gd name="T94" fmla="*/ 33 w 43"/>
                  <a:gd name="T95" fmla="*/ 24 h 48"/>
                  <a:gd name="T96" fmla="*/ 7 w 43"/>
                  <a:gd name="T97" fmla="*/ 39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3" h="48">
                    <a:moveTo>
                      <a:pt x="43" y="23"/>
                    </a:moveTo>
                    <a:cubicBezTo>
                      <a:pt x="43" y="23"/>
                      <a:pt x="43" y="22"/>
                      <a:pt x="43" y="22"/>
                    </a:cubicBezTo>
                    <a:cubicBezTo>
                      <a:pt x="43" y="22"/>
                      <a:pt x="43" y="22"/>
                      <a:pt x="43" y="22"/>
                    </a:cubicBezTo>
                    <a:cubicBezTo>
                      <a:pt x="43" y="22"/>
                      <a:pt x="43" y="22"/>
                      <a:pt x="42" y="22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6"/>
                      <a:pt x="0" y="46"/>
                      <a:pt x="0" y="47"/>
                    </a:cubicBezTo>
                    <a:cubicBezTo>
                      <a:pt x="1" y="47"/>
                      <a:pt x="1" y="48"/>
                      <a:pt x="2" y="48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2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2" y="27"/>
                      <a:pt x="43" y="26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6"/>
                      <a:pt x="43" y="26"/>
                      <a:pt x="43" y="25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3" y="24"/>
                      <a:pt x="43" y="24"/>
                      <a:pt x="43" y="23"/>
                    </a:cubicBezTo>
                    <a:cubicBezTo>
                      <a:pt x="43" y="23"/>
                      <a:pt x="43" y="23"/>
                      <a:pt x="43" y="23"/>
                    </a:cubicBezTo>
                    <a:close/>
                    <a:moveTo>
                      <a:pt x="7" y="39"/>
                    </a:moveTo>
                    <a:cubicBezTo>
                      <a:pt x="7" y="9"/>
                      <a:pt x="7" y="9"/>
                      <a:pt x="7" y="9"/>
                    </a:cubicBezTo>
                    <a:cubicBezTo>
                      <a:pt x="33" y="24"/>
                      <a:pt x="33" y="24"/>
                      <a:pt x="33" y="24"/>
                    </a:cubicBezTo>
                    <a:lnTo>
                      <a:pt x="7" y="3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 13"/>
              <p:cNvSpPr/>
              <p:nvPr/>
            </p:nvSpPr>
            <p:spPr bwMode="auto">
              <a:xfrm>
                <a:off x="7277177" y="3739985"/>
                <a:ext cx="928609" cy="59970"/>
              </a:xfrm>
              <a:custGeom>
                <a:avLst/>
                <a:gdLst>
                  <a:gd name="T0" fmla="*/ 121 w 125"/>
                  <a:gd name="T1" fmla="*/ 0 h 8"/>
                  <a:gd name="T2" fmla="*/ 4 w 125"/>
                  <a:gd name="T3" fmla="*/ 0 h 8"/>
                  <a:gd name="T4" fmla="*/ 0 w 125"/>
                  <a:gd name="T5" fmla="*/ 4 h 8"/>
                  <a:gd name="T6" fmla="*/ 4 w 125"/>
                  <a:gd name="T7" fmla="*/ 8 h 8"/>
                  <a:gd name="T8" fmla="*/ 121 w 125"/>
                  <a:gd name="T9" fmla="*/ 8 h 8"/>
                  <a:gd name="T10" fmla="*/ 125 w 125"/>
                  <a:gd name="T11" fmla="*/ 4 h 8"/>
                  <a:gd name="T12" fmla="*/ 121 w 125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5" h="8">
                    <a:moveTo>
                      <a:pt x="121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1" y="8"/>
                      <a:pt x="121" y="8"/>
                      <a:pt x="121" y="8"/>
                    </a:cubicBezTo>
                    <a:cubicBezTo>
                      <a:pt x="123" y="8"/>
                      <a:pt x="125" y="6"/>
                      <a:pt x="125" y="4"/>
                    </a:cubicBezTo>
                    <a:cubicBezTo>
                      <a:pt x="125" y="2"/>
                      <a:pt x="123" y="0"/>
                      <a:pt x="12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Freeform 14"/>
              <p:cNvSpPr/>
              <p:nvPr/>
            </p:nvSpPr>
            <p:spPr bwMode="auto">
              <a:xfrm>
                <a:off x="7864145" y="3501926"/>
                <a:ext cx="154466" cy="163552"/>
              </a:xfrm>
              <a:custGeom>
                <a:avLst/>
                <a:gdLst>
                  <a:gd name="T0" fmla="*/ 28 w 85"/>
                  <a:gd name="T1" fmla="*/ 0 h 90"/>
                  <a:gd name="T2" fmla="*/ 28 w 85"/>
                  <a:gd name="T3" fmla="*/ 29 h 90"/>
                  <a:gd name="T4" fmla="*/ 0 w 85"/>
                  <a:gd name="T5" fmla="*/ 29 h 90"/>
                  <a:gd name="T6" fmla="*/ 0 w 85"/>
                  <a:gd name="T7" fmla="*/ 29 h 90"/>
                  <a:gd name="T8" fmla="*/ 0 w 85"/>
                  <a:gd name="T9" fmla="*/ 58 h 90"/>
                  <a:gd name="T10" fmla="*/ 0 w 85"/>
                  <a:gd name="T11" fmla="*/ 62 h 90"/>
                  <a:gd name="T12" fmla="*/ 28 w 85"/>
                  <a:gd name="T13" fmla="*/ 62 h 90"/>
                  <a:gd name="T14" fmla="*/ 28 w 85"/>
                  <a:gd name="T15" fmla="*/ 90 h 90"/>
                  <a:gd name="T16" fmla="*/ 57 w 85"/>
                  <a:gd name="T17" fmla="*/ 90 h 90"/>
                  <a:gd name="T18" fmla="*/ 57 w 85"/>
                  <a:gd name="T19" fmla="*/ 62 h 90"/>
                  <a:gd name="T20" fmla="*/ 85 w 85"/>
                  <a:gd name="T21" fmla="*/ 62 h 90"/>
                  <a:gd name="T22" fmla="*/ 85 w 85"/>
                  <a:gd name="T23" fmla="*/ 58 h 90"/>
                  <a:gd name="T24" fmla="*/ 85 w 85"/>
                  <a:gd name="T25" fmla="*/ 29 h 90"/>
                  <a:gd name="T26" fmla="*/ 85 w 85"/>
                  <a:gd name="T27" fmla="*/ 29 h 90"/>
                  <a:gd name="T28" fmla="*/ 57 w 85"/>
                  <a:gd name="T29" fmla="*/ 29 h 90"/>
                  <a:gd name="T30" fmla="*/ 57 w 85"/>
                  <a:gd name="T31" fmla="*/ 0 h 90"/>
                  <a:gd name="T32" fmla="*/ 28 w 85"/>
                  <a:gd name="T33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5" h="90">
                    <a:moveTo>
                      <a:pt x="28" y="0"/>
                    </a:moveTo>
                    <a:lnTo>
                      <a:pt x="28" y="29"/>
                    </a:lnTo>
                    <a:lnTo>
                      <a:pt x="0" y="29"/>
                    </a:lnTo>
                    <a:lnTo>
                      <a:pt x="0" y="29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28" y="62"/>
                    </a:lnTo>
                    <a:lnTo>
                      <a:pt x="28" y="90"/>
                    </a:lnTo>
                    <a:lnTo>
                      <a:pt x="57" y="90"/>
                    </a:lnTo>
                    <a:lnTo>
                      <a:pt x="57" y="62"/>
                    </a:lnTo>
                    <a:lnTo>
                      <a:pt x="85" y="62"/>
                    </a:lnTo>
                    <a:lnTo>
                      <a:pt x="85" y="58"/>
                    </a:lnTo>
                    <a:lnTo>
                      <a:pt x="85" y="29"/>
                    </a:lnTo>
                    <a:lnTo>
                      <a:pt x="85" y="29"/>
                    </a:lnTo>
                    <a:lnTo>
                      <a:pt x="57" y="29"/>
                    </a:lnTo>
                    <a:lnTo>
                      <a:pt x="57" y="0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Freeform 15"/>
              <p:cNvSpPr/>
              <p:nvPr/>
            </p:nvSpPr>
            <p:spPr bwMode="auto">
              <a:xfrm>
                <a:off x="7255368" y="2789568"/>
                <a:ext cx="1090344" cy="825027"/>
              </a:xfrm>
              <a:custGeom>
                <a:avLst/>
                <a:gdLst>
                  <a:gd name="T0" fmla="*/ 125 w 147"/>
                  <a:gd name="T1" fmla="*/ 0 h 111"/>
                  <a:gd name="T2" fmla="*/ 125 w 147"/>
                  <a:gd name="T3" fmla="*/ 0 h 111"/>
                  <a:gd name="T4" fmla="*/ 7 w 147"/>
                  <a:gd name="T5" fmla="*/ 0 h 111"/>
                  <a:gd name="T6" fmla="*/ 0 w 147"/>
                  <a:gd name="T7" fmla="*/ 1 h 111"/>
                  <a:gd name="T8" fmla="*/ 0 w 147"/>
                  <a:gd name="T9" fmla="*/ 9 h 111"/>
                  <a:gd name="T10" fmla="*/ 7 w 147"/>
                  <a:gd name="T11" fmla="*/ 7 h 111"/>
                  <a:gd name="T12" fmla="*/ 124 w 147"/>
                  <a:gd name="T13" fmla="*/ 7 h 111"/>
                  <a:gd name="T14" fmla="*/ 140 w 147"/>
                  <a:gd name="T15" fmla="*/ 23 h 111"/>
                  <a:gd name="T16" fmla="*/ 140 w 147"/>
                  <a:gd name="T17" fmla="*/ 88 h 111"/>
                  <a:gd name="T18" fmla="*/ 124 w 147"/>
                  <a:gd name="T19" fmla="*/ 103 h 111"/>
                  <a:gd name="T20" fmla="*/ 111 w 147"/>
                  <a:gd name="T21" fmla="*/ 103 h 111"/>
                  <a:gd name="T22" fmla="*/ 111 w 147"/>
                  <a:gd name="T23" fmla="*/ 111 h 111"/>
                  <a:gd name="T24" fmla="*/ 125 w 147"/>
                  <a:gd name="T25" fmla="*/ 111 h 111"/>
                  <a:gd name="T26" fmla="*/ 125 w 147"/>
                  <a:gd name="T27" fmla="*/ 110 h 111"/>
                  <a:gd name="T28" fmla="*/ 147 w 147"/>
                  <a:gd name="T29" fmla="*/ 88 h 111"/>
                  <a:gd name="T30" fmla="*/ 147 w 147"/>
                  <a:gd name="T31" fmla="*/ 23 h 111"/>
                  <a:gd name="T32" fmla="*/ 125 w 147"/>
                  <a:gd name="T3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7" h="111">
                    <a:moveTo>
                      <a:pt x="125" y="0"/>
                    </a:moveTo>
                    <a:cubicBezTo>
                      <a:pt x="125" y="0"/>
                      <a:pt x="125" y="0"/>
                      <a:pt x="125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4" y="0"/>
                      <a:pt x="2" y="1"/>
                      <a:pt x="0" y="1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" y="8"/>
                      <a:pt x="4" y="7"/>
                      <a:pt x="7" y="7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33" y="7"/>
                      <a:pt x="140" y="14"/>
                      <a:pt x="140" y="23"/>
                    </a:cubicBezTo>
                    <a:cubicBezTo>
                      <a:pt x="140" y="88"/>
                      <a:pt x="140" y="88"/>
                      <a:pt x="140" y="88"/>
                    </a:cubicBezTo>
                    <a:cubicBezTo>
                      <a:pt x="140" y="96"/>
                      <a:pt x="133" y="103"/>
                      <a:pt x="124" y="103"/>
                    </a:cubicBezTo>
                    <a:cubicBezTo>
                      <a:pt x="111" y="103"/>
                      <a:pt x="111" y="103"/>
                      <a:pt x="111" y="103"/>
                    </a:cubicBezTo>
                    <a:cubicBezTo>
                      <a:pt x="111" y="111"/>
                      <a:pt x="111" y="111"/>
                      <a:pt x="111" y="111"/>
                    </a:cubicBezTo>
                    <a:cubicBezTo>
                      <a:pt x="125" y="111"/>
                      <a:pt x="125" y="111"/>
                      <a:pt x="125" y="111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37" y="110"/>
                      <a:pt x="147" y="100"/>
                      <a:pt x="147" y="88"/>
                    </a:cubicBezTo>
                    <a:cubicBezTo>
                      <a:pt x="147" y="23"/>
                      <a:pt x="147" y="23"/>
                      <a:pt x="147" y="23"/>
                    </a:cubicBezTo>
                    <a:cubicBezTo>
                      <a:pt x="147" y="11"/>
                      <a:pt x="137" y="1"/>
                      <a:pt x="12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2" name="组合 61"/>
          <p:cNvGrpSpPr/>
          <p:nvPr userDrawn="1"/>
        </p:nvGrpSpPr>
        <p:grpSpPr>
          <a:xfrm>
            <a:off x="756325" y="2112864"/>
            <a:ext cx="1762686" cy="1762683"/>
            <a:chOff x="1507108" y="2100648"/>
            <a:chExt cx="1627763" cy="1627761"/>
          </a:xfrm>
        </p:grpSpPr>
        <p:sp>
          <p:nvSpPr>
            <p:cNvPr id="63" name="矩形 62"/>
            <p:cNvSpPr/>
            <p:nvPr/>
          </p:nvSpPr>
          <p:spPr>
            <a:xfrm>
              <a:off x="1507110" y="2100648"/>
              <a:ext cx="1627761" cy="1627761"/>
            </a:xfrm>
            <a:prstGeom prst="rect">
              <a:avLst/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grpSp>
          <p:nvGrpSpPr>
            <p:cNvPr id="64" name="组合 63"/>
            <p:cNvGrpSpPr/>
            <p:nvPr/>
          </p:nvGrpSpPr>
          <p:grpSpPr>
            <a:xfrm>
              <a:off x="1507108" y="2201164"/>
              <a:ext cx="1384865" cy="1466956"/>
              <a:chOff x="1550988" y="1668463"/>
              <a:chExt cx="615950" cy="652462"/>
            </a:xfrm>
          </p:grpSpPr>
          <p:sp>
            <p:nvSpPr>
              <p:cNvPr id="65" name="Freeform 5"/>
              <p:cNvSpPr/>
              <p:nvPr/>
            </p:nvSpPr>
            <p:spPr bwMode="auto">
              <a:xfrm>
                <a:off x="1550988" y="1962150"/>
                <a:ext cx="585788" cy="358775"/>
              </a:xfrm>
              <a:custGeom>
                <a:avLst/>
                <a:gdLst>
                  <a:gd name="T0" fmla="*/ 62 w 153"/>
                  <a:gd name="T1" fmla="*/ 94 h 94"/>
                  <a:gd name="T2" fmla="*/ 69 w 153"/>
                  <a:gd name="T3" fmla="*/ 91 h 94"/>
                  <a:gd name="T4" fmla="*/ 139 w 153"/>
                  <a:gd name="T5" fmla="*/ 22 h 94"/>
                  <a:gd name="T6" fmla="*/ 153 w 153"/>
                  <a:gd name="T7" fmla="*/ 0 h 94"/>
                  <a:gd name="T8" fmla="*/ 145 w 153"/>
                  <a:gd name="T9" fmla="*/ 0 h 94"/>
                  <a:gd name="T10" fmla="*/ 134 w 153"/>
                  <a:gd name="T11" fmla="*/ 16 h 94"/>
                  <a:gd name="T12" fmla="*/ 64 w 153"/>
                  <a:gd name="T13" fmla="*/ 86 h 94"/>
                  <a:gd name="T14" fmla="*/ 62 w 153"/>
                  <a:gd name="T15" fmla="*/ 87 h 94"/>
                  <a:gd name="T16" fmla="*/ 59 w 153"/>
                  <a:gd name="T17" fmla="*/ 86 h 94"/>
                  <a:gd name="T18" fmla="*/ 0 w 153"/>
                  <a:gd name="T19" fmla="*/ 27 h 94"/>
                  <a:gd name="T20" fmla="*/ 0 w 153"/>
                  <a:gd name="T21" fmla="*/ 36 h 94"/>
                  <a:gd name="T22" fmla="*/ 54 w 153"/>
                  <a:gd name="T23" fmla="*/ 91 h 94"/>
                  <a:gd name="T24" fmla="*/ 62 w 153"/>
                  <a:gd name="T25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3" h="94">
                    <a:moveTo>
                      <a:pt x="62" y="94"/>
                    </a:moveTo>
                    <a:cubicBezTo>
                      <a:pt x="64" y="94"/>
                      <a:pt x="67" y="93"/>
                      <a:pt x="69" y="91"/>
                    </a:cubicBezTo>
                    <a:cubicBezTo>
                      <a:pt x="139" y="22"/>
                      <a:pt x="139" y="22"/>
                      <a:pt x="139" y="22"/>
                    </a:cubicBezTo>
                    <a:cubicBezTo>
                      <a:pt x="145" y="15"/>
                      <a:pt x="150" y="8"/>
                      <a:pt x="153" y="0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42" y="6"/>
                      <a:pt x="139" y="12"/>
                      <a:pt x="134" y="16"/>
                    </a:cubicBezTo>
                    <a:cubicBezTo>
                      <a:pt x="64" y="86"/>
                      <a:pt x="64" y="86"/>
                      <a:pt x="64" y="86"/>
                    </a:cubicBezTo>
                    <a:cubicBezTo>
                      <a:pt x="63" y="87"/>
                      <a:pt x="62" y="87"/>
                      <a:pt x="62" y="87"/>
                    </a:cubicBezTo>
                    <a:cubicBezTo>
                      <a:pt x="61" y="87"/>
                      <a:pt x="60" y="87"/>
                      <a:pt x="59" y="8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54" y="91"/>
                      <a:pt x="54" y="91"/>
                      <a:pt x="54" y="91"/>
                    </a:cubicBezTo>
                    <a:cubicBezTo>
                      <a:pt x="56" y="93"/>
                      <a:pt x="59" y="94"/>
                      <a:pt x="62" y="9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6"/>
              <p:cNvSpPr/>
              <p:nvPr/>
            </p:nvSpPr>
            <p:spPr bwMode="auto">
              <a:xfrm>
                <a:off x="1550988" y="1668463"/>
                <a:ext cx="588963" cy="160337"/>
              </a:xfrm>
              <a:custGeom>
                <a:avLst/>
                <a:gdLst>
                  <a:gd name="T0" fmla="*/ 139 w 154"/>
                  <a:gd name="T1" fmla="*/ 18 h 42"/>
                  <a:gd name="T2" fmla="*/ 114 w 154"/>
                  <a:gd name="T3" fmla="*/ 3 h 42"/>
                  <a:gd name="T4" fmla="*/ 83 w 154"/>
                  <a:gd name="T5" fmla="*/ 3 h 42"/>
                  <a:gd name="T6" fmla="*/ 62 w 154"/>
                  <a:gd name="T7" fmla="*/ 13 h 42"/>
                  <a:gd name="T8" fmla="*/ 40 w 154"/>
                  <a:gd name="T9" fmla="*/ 3 h 42"/>
                  <a:gd name="T10" fmla="*/ 9 w 154"/>
                  <a:gd name="T11" fmla="*/ 3 h 42"/>
                  <a:gd name="T12" fmla="*/ 0 w 154"/>
                  <a:gd name="T13" fmla="*/ 7 h 42"/>
                  <a:gd name="T14" fmla="*/ 0 w 154"/>
                  <a:gd name="T15" fmla="*/ 15 h 42"/>
                  <a:gd name="T16" fmla="*/ 11 w 154"/>
                  <a:gd name="T17" fmla="*/ 10 h 42"/>
                  <a:gd name="T18" fmla="*/ 26 w 154"/>
                  <a:gd name="T19" fmla="*/ 8 h 42"/>
                  <a:gd name="T20" fmla="*/ 38 w 154"/>
                  <a:gd name="T21" fmla="*/ 9 h 42"/>
                  <a:gd name="T22" fmla="*/ 59 w 154"/>
                  <a:gd name="T23" fmla="*/ 21 h 42"/>
                  <a:gd name="T24" fmla="*/ 62 w 154"/>
                  <a:gd name="T25" fmla="*/ 22 h 42"/>
                  <a:gd name="T26" fmla="*/ 64 w 154"/>
                  <a:gd name="T27" fmla="*/ 21 h 42"/>
                  <a:gd name="T28" fmla="*/ 85 w 154"/>
                  <a:gd name="T29" fmla="*/ 9 h 42"/>
                  <a:gd name="T30" fmla="*/ 112 w 154"/>
                  <a:gd name="T31" fmla="*/ 10 h 42"/>
                  <a:gd name="T32" fmla="*/ 134 w 154"/>
                  <a:gd name="T33" fmla="*/ 23 h 42"/>
                  <a:gd name="T34" fmla="*/ 146 w 154"/>
                  <a:gd name="T35" fmla="*/ 42 h 42"/>
                  <a:gd name="T36" fmla="*/ 154 w 154"/>
                  <a:gd name="T37" fmla="*/ 42 h 42"/>
                  <a:gd name="T38" fmla="*/ 153 w 154"/>
                  <a:gd name="T39" fmla="*/ 42 h 42"/>
                  <a:gd name="T40" fmla="*/ 139 w 154"/>
                  <a:gd name="T41" fmla="*/ 18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4" h="42">
                    <a:moveTo>
                      <a:pt x="139" y="18"/>
                    </a:moveTo>
                    <a:cubicBezTo>
                      <a:pt x="132" y="11"/>
                      <a:pt x="123" y="6"/>
                      <a:pt x="114" y="3"/>
                    </a:cubicBezTo>
                    <a:cubicBezTo>
                      <a:pt x="104" y="0"/>
                      <a:pt x="94" y="0"/>
                      <a:pt x="83" y="3"/>
                    </a:cubicBezTo>
                    <a:cubicBezTo>
                      <a:pt x="76" y="5"/>
                      <a:pt x="68" y="8"/>
                      <a:pt x="62" y="13"/>
                    </a:cubicBezTo>
                    <a:cubicBezTo>
                      <a:pt x="55" y="8"/>
                      <a:pt x="48" y="5"/>
                      <a:pt x="40" y="3"/>
                    </a:cubicBezTo>
                    <a:cubicBezTo>
                      <a:pt x="29" y="0"/>
                      <a:pt x="19" y="0"/>
                      <a:pt x="9" y="3"/>
                    </a:cubicBezTo>
                    <a:cubicBezTo>
                      <a:pt x="6" y="4"/>
                      <a:pt x="3" y="6"/>
                      <a:pt x="0" y="7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3"/>
                      <a:pt x="7" y="11"/>
                      <a:pt x="11" y="10"/>
                    </a:cubicBezTo>
                    <a:cubicBezTo>
                      <a:pt x="16" y="9"/>
                      <a:pt x="21" y="8"/>
                      <a:pt x="26" y="8"/>
                    </a:cubicBezTo>
                    <a:cubicBezTo>
                      <a:pt x="30" y="8"/>
                      <a:pt x="34" y="8"/>
                      <a:pt x="38" y="9"/>
                    </a:cubicBezTo>
                    <a:cubicBezTo>
                      <a:pt x="46" y="11"/>
                      <a:pt x="53" y="15"/>
                      <a:pt x="59" y="21"/>
                    </a:cubicBezTo>
                    <a:cubicBezTo>
                      <a:pt x="62" y="22"/>
                      <a:pt x="62" y="22"/>
                      <a:pt x="62" y="22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70" y="15"/>
                      <a:pt x="78" y="11"/>
                      <a:pt x="85" y="9"/>
                    </a:cubicBezTo>
                    <a:cubicBezTo>
                      <a:pt x="94" y="7"/>
                      <a:pt x="103" y="7"/>
                      <a:pt x="112" y="10"/>
                    </a:cubicBezTo>
                    <a:cubicBezTo>
                      <a:pt x="120" y="13"/>
                      <a:pt x="128" y="17"/>
                      <a:pt x="134" y="23"/>
                    </a:cubicBezTo>
                    <a:cubicBezTo>
                      <a:pt x="139" y="28"/>
                      <a:pt x="143" y="35"/>
                      <a:pt x="146" y="42"/>
                    </a:cubicBezTo>
                    <a:cubicBezTo>
                      <a:pt x="154" y="42"/>
                      <a:pt x="154" y="42"/>
                      <a:pt x="154" y="42"/>
                    </a:cubicBezTo>
                    <a:cubicBezTo>
                      <a:pt x="153" y="42"/>
                      <a:pt x="153" y="42"/>
                      <a:pt x="153" y="42"/>
                    </a:cubicBezTo>
                    <a:cubicBezTo>
                      <a:pt x="150" y="33"/>
                      <a:pt x="145" y="25"/>
                      <a:pt x="139" y="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7"/>
              <p:cNvSpPr/>
              <p:nvPr/>
            </p:nvSpPr>
            <p:spPr bwMode="auto">
              <a:xfrm>
                <a:off x="2087563" y="1855788"/>
                <a:ext cx="79375" cy="79375"/>
              </a:xfrm>
              <a:custGeom>
                <a:avLst/>
                <a:gdLst>
                  <a:gd name="T0" fmla="*/ 50 w 50"/>
                  <a:gd name="T1" fmla="*/ 17 h 50"/>
                  <a:gd name="T2" fmla="*/ 33 w 50"/>
                  <a:gd name="T3" fmla="*/ 17 h 50"/>
                  <a:gd name="T4" fmla="*/ 33 w 50"/>
                  <a:gd name="T5" fmla="*/ 0 h 50"/>
                  <a:gd name="T6" fmla="*/ 16 w 50"/>
                  <a:gd name="T7" fmla="*/ 0 h 50"/>
                  <a:gd name="T8" fmla="*/ 16 w 50"/>
                  <a:gd name="T9" fmla="*/ 17 h 50"/>
                  <a:gd name="T10" fmla="*/ 0 w 50"/>
                  <a:gd name="T11" fmla="*/ 17 h 50"/>
                  <a:gd name="T12" fmla="*/ 0 w 50"/>
                  <a:gd name="T13" fmla="*/ 33 h 50"/>
                  <a:gd name="T14" fmla="*/ 16 w 50"/>
                  <a:gd name="T15" fmla="*/ 33 h 50"/>
                  <a:gd name="T16" fmla="*/ 16 w 50"/>
                  <a:gd name="T17" fmla="*/ 50 h 50"/>
                  <a:gd name="T18" fmla="*/ 33 w 50"/>
                  <a:gd name="T19" fmla="*/ 50 h 50"/>
                  <a:gd name="T20" fmla="*/ 33 w 50"/>
                  <a:gd name="T21" fmla="*/ 33 h 50"/>
                  <a:gd name="T22" fmla="*/ 50 w 50"/>
                  <a:gd name="T23" fmla="*/ 33 h 50"/>
                  <a:gd name="T24" fmla="*/ 50 w 50"/>
                  <a:gd name="T25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50">
                    <a:moveTo>
                      <a:pt x="50" y="17"/>
                    </a:moveTo>
                    <a:lnTo>
                      <a:pt x="33" y="17"/>
                    </a:lnTo>
                    <a:lnTo>
                      <a:pt x="33" y="0"/>
                    </a:lnTo>
                    <a:lnTo>
                      <a:pt x="16" y="0"/>
                    </a:lnTo>
                    <a:lnTo>
                      <a:pt x="16" y="17"/>
                    </a:lnTo>
                    <a:lnTo>
                      <a:pt x="0" y="17"/>
                    </a:lnTo>
                    <a:lnTo>
                      <a:pt x="0" y="33"/>
                    </a:lnTo>
                    <a:lnTo>
                      <a:pt x="16" y="33"/>
                    </a:lnTo>
                    <a:lnTo>
                      <a:pt x="16" y="50"/>
                    </a:lnTo>
                    <a:lnTo>
                      <a:pt x="33" y="50"/>
                    </a:lnTo>
                    <a:lnTo>
                      <a:pt x="33" y="33"/>
                    </a:lnTo>
                    <a:lnTo>
                      <a:pt x="50" y="33"/>
                    </a:lnTo>
                    <a:lnTo>
                      <a:pt x="50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8" name="组合 67"/>
          <p:cNvGrpSpPr/>
          <p:nvPr userDrawn="1"/>
        </p:nvGrpSpPr>
        <p:grpSpPr>
          <a:xfrm>
            <a:off x="3540794" y="2112864"/>
            <a:ext cx="1762686" cy="1762683"/>
            <a:chOff x="4146320" y="2100648"/>
            <a:chExt cx="1627764" cy="1627761"/>
          </a:xfrm>
        </p:grpSpPr>
        <p:sp>
          <p:nvSpPr>
            <p:cNvPr id="69" name="矩形 68"/>
            <p:cNvSpPr/>
            <p:nvPr/>
          </p:nvSpPr>
          <p:spPr>
            <a:xfrm>
              <a:off x="4146323" y="2100648"/>
              <a:ext cx="1627761" cy="1627761"/>
            </a:xfrm>
            <a:prstGeom prst="rect">
              <a:avLst/>
            </a:prstGeom>
            <a:solidFill>
              <a:srgbClr val="1737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pic>
          <p:nvPicPr>
            <p:cNvPr id="70" name="图片 69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146320" y="2201164"/>
              <a:ext cx="1472700" cy="1527245"/>
            </a:xfrm>
            <a:prstGeom prst="rect">
              <a:avLst/>
            </a:prstGeom>
          </p:spPr>
        </p:pic>
      </p:grpSp>
      <p:sp>
        <p:nvSpPr>
          <p:cNvPr id="75" name="文本占位符 11"/>
          <p:cNvSpPr>
            <a:spLocks noGrp="1"/>
          </p:cNvSpPr>
          <p:nvPr>
            <p:ph type="body" sz="quarter" idx="16" hasCustomPrompt="1"/>
          </p:nvPr>
        </p:nvSpPr>
        <p:spPr>
          <a:xfrm>
            <a:off x="888171" y="4116313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6" name="文本占位符 11"/>
          <p:cNvSpPr>
            <a:spLocks noGrp="1"/>
          </p:cNvSpPr>
          <p:nvPr>
            <p:ph type="body" sz="quarter" idx="17" hasCustomPrompt="1"/>
          </p:nvPr>
        </p:nvSpPr>
        <p:spPr>
          <a:xfrm>
            <a:off x="3677711" y="4116313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7" name="文本占位符 11"/>
          <p:cNvSpPr>
            <a:spLocks noGrp="1"/>
          </p:cNvSpPr>
          <p:nvPr>
            <p:ph type="body" sz="quarter" idx="18" hasCustomPrompt="1"/>
          </p:nvPr>
        </p:nvSpPr>
        <p:spPr>
          <a:xfrm>
            <a:off x="6453376" y="4116313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8" name="文本占位符 11"/>
          <p:cNvSpPr>
            <a:spLocks noGrp="1"/>
          </p:cNvSpPr>
          <p:nvPr>
            <p:ph type="body" sz="quarter" idx="19" hasCustomPrompt="1"/>
          </p:nvPr>
        </p:nvSpPr>
        <p:spPr>
          <a:xfrm>
            <a:off x="9242916" y="4126576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</p:spTree>
    <p:extLst>
      <p:ext uri="{BB962C8B-B14F-4D97-AF65-F5344CB8AC3E}">
        <p14:creationId xmlns:p14="http://schemas.microsoft.com/office/powerpoint/2010/main" val="29362212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-左字右四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" name="矩形 13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22" name="文本占位符 11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1116000"/>
            <a:ext cx="10210271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23" name="图片占位符 26"/>
          <p:cNvSpPr>
            <a:spLocks noGrp="1"/>
          </p:cNvSpPr>
          <p:nvPr>
            <p:ph type="pic" sz="quarter" idx="23"/>
          </p:nvPr>
        </p:nvSpPr>
        <p:spPr>
          <a:xfrm>
            <a:off x="6945807" y="1764001"/>
            <a:ext cx="1937400" cy="1951797"/>
          </a:xfrm>
          <a:custGeom>
            <a:avLst/>
            <a:gdLst>
              <a:gd name="connsiteX0" fmla="*/ 385763 w 1636713"/>
              <a:gd name="connsiteY0" fmla="*/ 0 h 1640417"/>
              <a:gd name="connsiteX1" fmla="*/ 1630363 w 1636713"/>
              <a:gd name="connsiteY1" fmla="*/ 0 h 1640417"/>
              <a:gd name="connsiteX2" fmla="*/ 1630363 w 1636713"/>
              <a:gd name="connsiteY2" fmla="*/ 88946 h 1640417"/>
              <a:gd name="connsiteX3" fmla="*/ 1636713 w 1636713"/>
              <a:gd name="connsiteY3" fmla="*/ 120398 h 1640417"/>
              <a:gd name="connsiteX4" fmla="*/ 1636713 w 1636713"/>
              <a:gd name="connsiteY4" fmla="*/ 1005418 h 1640417"/>
              <a:gd name="connsiteX5" fmla="*/ 1636713 w 1636713"/>
              <a:gd name="connsiteY5" fmla="*/ 1517904 h 1640417"/>
              <a:gd name="connsiteX6" fmla="*/ 1636713 w 1636713"/>
              <a:gd name="connsiteY6" fmla="*/ 1638831 h 1640417"/>
              <a:gd name="connsiteX7" fmla="*/ 1630363 w 1636713"/>
              <a:gd name="connsiteY7" fmla="*/ 1638831 h 1640417"/>
              <a:gd name="connsiteX8" fmla="*/ 1630363 w 1636713"/>
              <a:gd name="connsiteY8" fmla="*/ 1640417 h 1640417"/>
              <a:gd name="connsiteX9" fmla="*/ 385763 w 1636713"/>
              <a:gd name="connsiteY9" fmla="*/ 1640417 h 1640417"/>
              <a:gd name="connsiteX10" fmla="*/ 385763 w 1636713"/>
              <a:gd name="connsiteY10" fmla="*/ 1638831 h 1640417"/>
              <a:gd name="connsiteX11" fmla="*/ 0 w 1636713"/>
              <a:gd name="connsiteY11" fmla="*/ 1638831 h 1640417"/>
              <a:gd name="connsiteX12" fmla="*/ 0 w 1636713"/>
              <a:gd name="connsiteY12" fmla="*/ 1517904 h 1640417"/>
              <a:gd name="connsiteX13" fmla="*/ 0 w 1636713"/>
              <a:gd name="connsiteY13" fmla="*/ 1005418 h 1640417"/>
              <a:gd name="connsiteX14" fmla="*/ 0 w 1636713"/>
              <a:gd name="connsiteY14" fmla="*/ 120398 h 1640417"/>
              <a:gd name="connsiteX15" fmla="*/ 120397 w 1636713"/>
              <a:gd name="connsiteY15" fmla="*/ 1 h 1640417"/>
              <a:gd name="connsiteX16" fmla="*/ 385763 w 1636713"/>
              <a:gd name="connsiteY16" fmla="*/ 1 h 1640417"/>
              <a:gd name="connsiteX0-1" fmla="*/ 385763 w 1636713"/>
              <a:gd name="connsiteY0-2" fmla="*/ 0 h 1640417"/>
              <a:gd name="connsiteX1-3" fmla="*/ 1630363 w 1636713"/>
              <a:gd name="connsiteY1-4" fmla="*/ 0 h 1640417"/>
              <a:gd name="connsiteX2-5" fmla="*/ 1630363 w 1636713"/>
              <a:gd name="connsiteY2-6" fmla="*/ 88946 h 1640417"/>
              <a:gd name="connsiteX3-7" fmla="*/ 1636713 w 1636713"/>
              <a:gd name="connsiteY3-8" fmla="*/ 1005418 h 1640417"/>
              <a:gd name="connsiteX4-9" fmla="*/ 1636713 w 1636713"/>
              <a:gd name="connsiteY4-10" fmla="*/ 1517904 h 1640417"/>
              <a:gd name="connsiteX5-11" fmla="*/ 1636713 w 1636713"/>
              <a:gd name="connsiteY5-12" fmla="*/ 1638831 h 1640417"/>
              <a:gd name="connsiteX6-13" fmla="*/ 1630363 w 1636713"/>
              <a:gd name="connsiteY6-14" fmla="*/ 1638831 h 1640417"/>
              <a:gd name="connsiteX7-15" fmla="*/ 1630363 w 1636713"/>
              <a:gd name="connsiteY7-16" fmla="*/ 1640417 h 1640417"/>
              <a:gd name="connsiteX8-17" fmla="*/ 385763 w 1636713"/>
              <a:gd name="connsiteY8-18" fmla="*/ 1640417 h 1640417"/>
              <a:gd name="connsiteX9-19" fmla="*/ 385763 w 1636713"/>
              <a:gd name="connsiteY9-20" fmla="*/ 1638831 h 1640417"/>
              <a:gd name="connsiteX10-21" fmla="*/ 0 w 1636713"/>
              <a:gd name="connsiteY10-22" fmla="*/ 1638831 h 1640417"/>
              <a:gd name="connsiteX11-23" fmla="*/ 0 w 1636713"/>
              <a:gd name="connsiteY11-24" fmla="*/ 1517904 h 1640417"/>
              <a:gd name="connsiteX12-25" fmla="*/ 0 w 1636713"/>
              <a:gd name="connsiteY12-26" fmla="*/ 1005418 h 1640417"/>
              <a:gd name="connsiteX13-27" fmla="*/ 0 w 1636713"/>
              <a:gd name="connsiteY13-28" fmla="*/ 120398 h 1640417"/>
              <a:gd name="connsiteX14-29" fmla="*/ 120397 w 1636713"/>
              <a:gd name="connsiteY14-30" fmla="*/ 1 h 1640417"/>
              <a:gd name="connsiteX15-31" fmla="*/ 385763 w 1636713"/>
              <a:gd name="connsiteY15-32" fmla="*/ 1 h 1640417"/>
              <a:gd name="connsiteX16-33" fmla="*/ 385763 w 1636713"/>
              <a:gd name="connsiteY16-34" fmla="*/ 0 h 1640417"/>
              <a:gd name="connsiteX0-35" fmla="*/ 385763 w 1636713"/>
              <a:gd name="connsiteY0-36" fmla="*/ 0 h 1640417"/>
              <a:gd name="connsiteX1-37" fmla="*/ 1630363 w 1636713"/>
              <a:gd name="connsiteY1-38" fmla="*/ 0 h 1640417"/>
              <a:gd name="connsiteX2-39" fmla="*/ 1636713 w 1636713"/>
              <a:gd name="connsiteY2-40" fmla="*/ 1005418 h 1640417"/>
              <a:gd name="connsiteX3-41" fmla="*/ 1636713 w 1636713"/>
              <a:gd name="connsiteY3-42" fmla="*/ 1517904 h 1640417"/>
              <a:gd name="connsiteX4-43" fmla="*/ 1636713 w 1636713"/>
              <a:gd name="connsiteY4-44" fmla="*/ 1638831 h 1640417"/>
              <a:gd name="connsiteX5-45" fmla="*/ 1630363 w 1636713"/>
              <a:gd name="connsiteY5-46" fmla="*/ 1638831 h 1640417"/>
              <a:gd name="connsiteX6-47" fmla="*/ 1630363 w 1636713"/>
              <a:gd name="connsiteY6-48" fmla="*/ 1640417 h 1640417"/>
              <a:gd name="connsiteX7-49" fmla="*/ 385763 w 1636713"/>
              <a:gd name="connsiteY7-50" fmla="*/ 1640417 h 1640417"/>
              <a:gd name="connsiteX8-51" fmla="*/ 385763 w 1636713"/>
              <a:gd name="connsiteY8-52" fmla="*/ 1638831 h 1640417"/>
              <a:gd name="connsiteX9-53" fmla="*/ 0 w 1636713"/>
              <a:gd name="connsiteY9-54" fmla="*/ 1638831 h 1640417"/>
              <a:gd name="connsiteX10-55" fmla="*/ 0 w 1636713"/>
              <a:gd name="connsiteY10-56" fmla="*/ 1517904 h 1640417"/>
              <a:gd name="connsiteX11-57" fmla="*/ 0 w 1636713"/>
              <a:gd name="connsiteY11-58" fmla="*/ 1005418 h 1640417"/>
              <a:gd name="connsiteX12-59" fmla="*/ 0 w 1636713"/>
              <a:gd name="connsiteY12-60" fmla="*/ 120398 h 1640417"/>
              <a:gd name="connsiteX13-61" fmla="*/ 120397 w 1636713"/>
              <a:gd name="connsiteY13-62" fmla="*/ 1 h 1640417"/>
              <a:gd name="connsiteX14-63" fmla="*/ 385763 w 1636713"/>
              <a:gd name="connsiteY14-64" fmla="*/ 1 h 1640417"/>
              <a:gd name="connsiteX15-65" fmla="*/ 385763 w 1636713"/>
              <a:gd name="connsiteY15-66" fmla="*/ 0 h 1640417"/>
              <a:gd name="connsiteX0-67" fmla="*/ 385763 w 1653171"/>
              <a:gd name="connsiteY0-68" fmla="*/ 0 h 1640417"/>
              <a:gd name="connsiteX1-69" fmla="*/ 1653018 w 1653171"/>
              <a:gd name="connsiteY1-70" fmla="*/ 0 h 1640417"/>
              <a:gd name="connsiteX2-71" fmla="*/ 1636713 w 1653171"/>
              <a:gd name="connsiteY2-72" fmla="*/ 1005418 h 1640417"/>
              <a:gd name="connsiteX3-73" fmla="*/ 1636713 w 1653171"/>
              <a:gd name="connsiteY3-74" fmla="*/ 1517904 h 1640417"/>
              <a:gd name="connsiteX4-75" fmla="*/ 1636713 w 1653171"/>
              <a:gd name="connsiteY4-76" fmla="*/ 1638831 h 1640417"/>
              <a:gd name="connsiteX5-77" fmla="*/ 1630363 w 1653171"/>
              <a:gd name="connsiteY5-78" fmla="*/ 1638831 h 1640417"/>
              <a:gd name="connsiteX6-79" fmla="*/ 1630363 w 1653171"/>
              <a:gd name="connsiteY6-80" fmla="*/ 1640417 h 1640417"/>
              <a:gd name="connsiteX7-81" fmla="*/ 385763 w 1653171"/>
              <a:gd name="connsiteY7-82" fmla="*/ 1640417 h 1640417"/>
              <a:gd name="connsiteX8-83" fmla="*/ 385763 w 1653171"/>
              <a:gd name="connsiteY8-84" fmla="*/ 1638831 h 1640417"/>
              <a:gd name="connsiteX9-85" fmla="*/ 0 w 1653171"/>
              <a:gd name="connsiteY9-86" fmla="*/ 1638831 h 1640417"/>
              <a:gd name="connsiteX10-87" fmla="*/ 0 w 1653171"/>
              <a:gd name="connsiteY10-88" fmla="*/ 1517904 h 1640417"/>
              <a:gd name="connsiteX11-89" fmla="*/ 0 w 1653171"/>
              <a:gd name="connsiteY11-90" fmla="*/ 1005418 h 1640417"/>
              <a:gd name="connsiteX12-91" fmla="*/ 0 w 1653171"/>
              <a:gd name="connsiteY12-92" fmla="*/ 120398 h 1640417"/>
              <a:gd name="connsiteX13-93" fmla="*/ 120397 w 1653171"/>
              <a:gd name="connsiteY13-94" fmla="*/ 1 h 1640417"/>
              <a:gd name="connsiteX14-95" fmla="*/ 385763 w 1653171"/>
              <a:gd name="connsiteY14-96" fmla="*/ 1 h 1640417"/>
              <a:gd name="connsiteX15-97" fmla="*/ 385763 w 1653171"/>
              <a:gd name="connsiteY15-98" fmla="*/ 0 h 1640417"/>
              <a:gd name="connsiteX0-99" fmla="*/ 385763 w 1638414"/>
              <a:gd name="connsiteY0-100" fmla="*/ 0 h 1640417"/>
              <a:gd name="connsiteX1-101" fmla="*/ 1637915 w 1638414"/>
              <a:gd name="connsiteY1-102" fmla="*/ 0 h 1640417"/>
              <a:gd name="connsiteX2-103" fmla="*/ 1636713 w 1638414"/>
              <a:gd name="connsiteY2-104" fmla="*/ 1005418 h 1640417"/>
              <a:gd name="connsiteX3-105" fmla="*/ 1636713 w 1638414"/>
              <a:gd name="connsiteY3-106" fmla="*/ 1517904 h 1640417"/>
              <a:gd name="connsiteX4-107" fmla="*/ 1636713 w 1638414"/>
              <a:gd name="connsiteY4-108" fmla="*/ 1638831 h 1640417"/>
              <a:gd name="connsiteX5-109" fmla="*/ 1630363 w 1638414"/>
              <a:gd name="connsiteY5-110" fmla="*/ 1638831 h 1640417"/>
              <a:gd name="connsiteX6-111" fmla="*/ 1630363 w 1638414"/>
              <a:gd name="connsiteY6-112" fmla="*/ 1640417 h 1640417"/>
              <a:gd name="connsiteX7-113" fmla="*/ 385763 w 1638414"/>
              <a:gd name="connsiteY7-114" fmla="*/ 1640417 h 1640417"/>
              <a:gd name="connsiteX8-115" fmla="*/ 385763 w 1638414"/>
              <a:gd name="connsiteY8-116" fmla="*/ 1638831 h 1640417"/>
              <a:gd name="connsiteX9-117" fmla="*/ 0 w 1638414"/>
              <a:gd name="connsiteY9-118" fmla="*/ 1638831 h 1640417"/>
              <a:gd name="connsiteX10-119" fmla="*/ 0 w 1638414"/>
              <a:gd name="connsiteY10-120" fmla="*/ 1517904 h 1640417"/>
              <a:gd name="connsiteX11-121" fmla="*/ 0 w 1638414"/>
              <a:gd name="connsiteY11-122" fmla="*/ 1005418 h 1640417"/>
              <a:gd name="connsiteX12-123" fmla="*/ 0 w 1638414"/>
              <a:gd name="connsiteY12-124" fmla="*/ 120398 h 1640417"/>
              <a:gd name="connsiteX13-125" fmla="*/ 120397 w 1638414"/>
              <a:gd name="connsiteY13-126" fmla="*/ 1 h 1640417"/>
              <a:gd name="connsiteX14-127" fmla="*/ 385763 w 1638414"/>
              <a:gd name="connsiteY14-128" fmla="*/ 1 h 1640417"/>
              <a:gd name="connsiteX15-129" fmla="*/ 385763 w 1638414"/>
              <a:gd name="connsiteY15-130" fmla="*/ 0 h 1640417"/>
              <a:gd name="connsiteX0-131" fmla="*/ 385763 w 1636713"/>
              <a:gd name="connsiteY0-132" fmla="*/ 0 h 1640417"/>
              <a:gd name="connsiteX1-133" fmla="*/ 1635309 w 1636713"/>
              <a:gd name="connsiteY1-134" fmla="*/ 0 h 1640417"/>
              <a:gd name="connsiteX2-135" fmla="*/ 1636713 w 1636713"/>
              <a:gd name="connsiteY2-136" fmla="*/ 1005418 h 1640417"/>
              <a:gd name="connsiteX3-137" fmla="*/ 1636713 w 1636713"/>
              <a:gd name="connsiteY3-138" fmla="*/ 1517904 h 1640417"/>
              <a:gd name="connsiteX4-139" fmla="*/ 1636713 w 1636713"/>
              <a:gd name="connsiteY4-140" fmla="*/ 1638831 h 1640417"/>
              <a:gd name="connsiteX5-141" fmla="*/ 1630363 w 1636713"/>
              <a:gd name="connsiteY5-142" fmla="*/ 1638831 h 1640417"/>
              <a:gd name="connsiteX6-143" fmla="*/ 1630363 w 1636713"/>
              <a:gd name="connsiteY6-144" fmla="*/ 1640417 h 1640417"/>
              <a:gd name="connsiteX7-145" fmla="*/ 385763 w 1636713"/>
              <a:gd name="connsiteY7-146" fmla="*/ 1640417 h 1640417"/>
              <a:gd name="connsiteX8-147" fmla="*/ 385763 w 1636713"/>
              <a:gd name="connsiteY8-148" fmla="*/ 1638831 h 1640417"/>
              <a:gd name="connsiteX9-149" fmla="*/ 0 w 1636713"/>
              <a:gd name="connsiteY9-150" fmla="*/ 1638831 h 1640417"/>
              <a:gd name="connsiteX10-151" fmla="*/ 0 w 1636713"/>
              <a:gd name="connsiteY10-152" fmla="*/ 1517904 h 1640417"/>
              <a:gd name="connsiteX11-153" fmla="*/ 0 w 1636713"/>
              <a:gd name="connsiteY11-154" fmla="*/ 1005418 h 1640417"/>
              <a:gd name="connsiteX12-155" fmla="*/ 0 w 1636713"/>
              <a:gd name="connsiteY12-156" fmla="*/ 120398 h 1640417"/>
              <a:gd name="connsiteX13-157" fmla="*/ 120397 w 1636713"/>
              <a:gd name="connsiteY13-158" fmla="*/ 1 h 1640417"/>
              <a:gd name="connsiteX14-159" fmla="*/ 385763 w 1636713"/>
              <a:gd name="connsiteY14-160" fmla="*/ 1 h 1640417"/>
              <a:gd name="connsiteX15-161" fmla="*/ 385763 w 1636713"/>
              <a:gd name="connsiteY15-162" fmla="*/ 0 h 164041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  <a:cxn ang="0">
                <a:pos x="connsiteX11-23" y="connsiteY11-24"/>
              </a:cxn>
              <a:cxn ang="0">
                <a:pos x="connsiteX12-25" y="connsiteY12-26"/>
              </a:cxn>
              <a:cxn ang="0">
                <a:pos x="connsiteX13-27" y="connsiteY13-28"/>
              </a:cxn>
              <a:cxn ang="0">
                <a:pos x="connsiteX14-29" y="connsiteY14-30"/>
              </a:cxn>
              <a:cxn ang="0">
                <a:pos x="connsiteX15-31" y="connsiteY15-32"/>
              </a:cxn>
            </a:cxnLst>
            <a:rect l="l" t="t" r="r" b="b"/>
            <a:pathLst>
              <a:path w="1636713" h="1640417">
                <a:moveTo>
                  <a:pt x="385763" y="0"/>
                </a:moveTo>
                <a:lnTo>
                  <a:pt x="1635309" y="0"/>
                </a:lnTo>
                <a:cubicBezTo>
                  <a:pt x="1637426" y="335139"/>
                  <a:pt x="1634596" y="670279"/>
                  <a:pt x="1636713" y="1005418"/>
                </a:cubicBezTo>
                <a:lnTo>
                  <a:pt x="1636713" y="1517904"/>
                </a:lnTo>
                <a:lnTo>
                  <a:pt x="1636713" y="1638831"/>
                </a:lnTo>
                <a:lnTo>
                  <a:pt x="1630363" y="1638831"/>
                </a:lnTo>
                <a:lnTo>
                  <a:pt x="1630363" y="1640417"/>
                </a:lnTo>
                <a:lnTo>
                  <a:pt x="385763" y="1640417"/>
                </a:lnTo>
                <a:lnTo>
                  <a:pt x="385763" y="1638831"/>
                </a:lnTo>
                <a:lnTo>
                  <a:pt x="0" y="1638831"/>
                </a:lnTo>
                <a:lnTo>
                  <a:pt x="0" y="1517904"/>
                </a:lnTo>
                <a:lnTo>
                  <a:pt x="0" y="1005418"/>
                </a:lnTo>
                <a:lnTo>
                  <a:pt x="0" y="120398"/>
                </a:lnTo>
                <a:cubicBezTo>
                  <a:pt x="0" y="53905"/>
                  <a:pt x="53904" y="1"/>
                  <a:pt x="120397" y="1"/>
                </a:cubicBezTo>
                <a:lnTo>
                  <a:pt x="385763" y="1"/>
                </a:lnTo>
                <a:lnTo>
                  <a:pt x="385763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24" name="图片占位符 33"/>
          <p:cNvSpPr>
            <a:spLocks noGrp="1"/>
          </p:cNvSpPr>
          <p:nvPr>
            <p:ph type="pic" sz="quarter" idx="21"/>
          </p:nvPr>
        </p:nvSpPr>
        <p:spPr>
          <a:xfrm>
            <a:off x="8920870" y="1763999"/>
            <a:ext cx="1937400" cy="1951799"/>
          </a:xfrm>
          <a:custGeom>
            <a:avLst/>
            <a:gdLst>
              <a:gd name="connsiteX0" fmla="*/ 111918 w 1636713"/>
              <a:gd name="connsiteY0" fmla="*/ 0 h 1639888"/>
              <a:gd name="connsiteX1" fmla="*/ 1524795 w 1636713"/>
              <a:gd name="connsiteY1" fmla="*/ 0 h 1639888"/>
              <a:gd name="connsiteX2" fmla="*/ 1636713 w 1636713"/>
              <a:gd name="connsiteY2" fmla="*/ 111918 h 1639888"/>
              <a:gd name="connsiteX3" fmla="*/ 1636713 w 1636713"/>
              <a:gd name="connsiteY3" fmla="*/ 688047 h 1639888"/>
              <a:gd name="connsiteX4" fmla="*/ 1636713 w 1636713"/>
              <a:gd name="connsiteY4" fmla="*/ 1527970 h 1639888"/>
              <a:gd name="connsiteX5" fmla="*/ 1636713 w 1636713"/>
              <a:gd name="connsiteY5" fmla="*/ 1639888 h 1639888"/>
              <a:gd name="connsiteX6" fmla="*/ 1524795 w 1636713"/>
              <a:gd name="connsiteY6" fmla="*/ 1639888 h 1639888"/>
              <a:gd name="connsiteX7" fmla="*/ 111918 w 1636713"/>
              <a:gd name="connsiteY7" fmla="*/ 1639888 h 1639888"/>
              <a:gd name="connsiteX8" fmla="*/ 0 w 1636713"/>
              <a:gd name="connsiteY8" fmla="*/ 1639888 h 1639888"/>
              <a:gd name="connsiteX9" fmla="*/ 0 w 1636713"/>
              <a:gd name="connsiteY9" fmla="*/ 1527970 h 1639888"/>
              <a:gd name="connsiteX10" fmla="*/ 0 w 1636713"/>
              <a:gd name="connsiteY10" fmla="*/ 1295865 h 1639888"/>
              <a:gd name="connsiteX11" fmla="*/ 0 w 1636713"/>
              <a:gd name="connsiteY11" fmla="*/ 688047 h 1639888"/>
              <a:gd name="connsiteX12" fmla="*/ 0 w 1636713"/>
              <a:gd name="connsiteY12" fmla="*/ 111918 h 1639888"/>
              <a:gd name="connsiteX13" fmla="*/ 0 w 1636713"/>
              <a:gd name="connsiteY13" fmla="*/ 1 h 1639888"/>
              <a:gd name="connsiteX14" fmla="*/ 111913 w 1636713"/>
              <a:gd name="connsiteY14" fmla="*/ 1 h 16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36713" h="1639888">
                <a:moveTo>
                  <a:pt x="111918" y="0"/>
                </a:moveTo>
                <a:lnTo>
                  <a:pt x="1524795" y="0"/>
                </a:lnTo>
                <a:cubicBezTo>
                  <a:pt x="1586606" y="0"/>
                  <a:pt x="1636713" y="50107"/>
                  <a:pt x="1636713" y="111918"/>
                </a:cubicBezTo>
                <a:lnTo>
                  <a:pt x="1636713" y="688047"/>
                </a:lnTo>
                <a:lnTo>
                  <a:pt x="1636713" y="1527970"/>
                </a:lnTo>
                <a:lnTo>
                  <a:pt x="1636713" y="1639888"/>
                </a:lnTo>
                <a:lnTo>
                  <a:pt x="1524795" y="1639888"/>
                </a:lnTo>
                <a:lnTo>
                  <a:pt x="111918" y="1639888"/>
                </a:lnTo>
                <a:lnTo>
                  <a:pt x="0" y="1639888"/>
                </a:lnTo>
                <a:lnTo>
                  <a:pt x="0" y="1527970"/>
                </a:lnTo>
                <a:lnTo>
                  <a:pt x="0" y="1295865"/>
                </a:lnTo>
                <a:lnTo>
                  <a:pt x="0" y="688047"/>
                </a:lnTo>
                <a:lnTo>
                  <a:pt x="0" y="111918"/>
                </a:lnTo>
                <a:lnTo>
                  <a:pt x="0" y="1"/>
                </a:lnTo>
                <a:lnTo>
                  <a:pt x="111913" y="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25" name="图片占位符 38"/>
          <p:cNvSpPr>
            <a:spLocks noGrp="1"/>
          </p:cNvSpPr>
          <p:nvPr>
            <p:ph type="pic" sz="quarter" idx="24"/>
          </p:nvPr>
        </p:nvSpPr>
        <p:spPr>
          <a:xfrm>
            <a:off x="6945807" y="3758225"/>
            <a:ext cx="1937400" cy="1941159"/>
          </a:xfrm>
          <a:custGeom>
            <a:avLst/>
            <a:gdLst>
              <a:gd name="connsiteX0" fmla="*/ 1 w 1636713"/>
              <a:gd name="connsiteY0" fmla="*/ 0 h 1639888"/>
              <a:gd name="connsiteX1" fmla="*/ 111918 w 1636713"/>
              <a:gd name="connsiteY1" fmla="*/ 0 h 1639888"/>
              <a:gd name="connsiteX2" fmla="*/ 535891 w 1636713"/>
              <a:gd name="connsiteY2" fmla="*/ 0 h 1639888"/>
              <a:gd name="connsiteX3" fmla="*/ 1524795 w 1636713"/>
              <a:gd name="connsiteY3" fmla="*/ 0 h 1639888"/>
              <a:gd name="connsiteX4" fmla="*/ 1636713 w 1636713"/>
              <a:gd name="connsiteY4" fmla="*/ 0 h 1639888"/>
              <a:gd name="connsiteX5" fmla="*/ 1636713 w 1636713"/>
              <a:gd name="connsiteY5" fmla="*/ 111918 h 1639888"/>
              <a:gd name="connsiteX6" fmla="*/ 1636713 w 1636713"/>
              <a:gd name="connsiteY6" fmla="*/ 1051455 h 1639888"/>
              <a:gd name="connsiteX7" fmla="*/ 1636713 w 1636713"/>
              <a:gd name="connsiteY7" fmla="*/ 1527970 h 1639888"/>
              <a:gd name="connsiteX8" fmla="*/ 1636713 w 1636713"/>
              <a:gd name="connsiteY8" fmla="*/ 1639888 h 1639888"/>
              <a:gd name="connsiteX9" fmla="*/ 1524795 w 1636713"/>
              <a:gd name="connsiteY9" fmla="*/ 1639888 h 1639888"/>
              <a:gd name="connsiteX10" fmla="*/ 535891 w 1636713"/>
              <a:gd name="connsiteY10" fmla="*/ 1639888 h 1639888"/>
              <a:gd name="connsiteX11" fmla="*/ 111918 w 1636713"/>
              <a:gd name="connsiteY11" fmla="*/ 1639888 h 1639888"/>
              <a:gd name="connsiteX12" fmla="*/ 0 w 1636713"/>
              <a:gd name="connsiteY12" fmla="*/ 1527970 h 1639888"/>
              <a:gd name="connsiteX13" fmla="*/ 0 w 1636713"/>
              <a:gd name="connsiteY13" fmla="*/ 111918 h 1639888"/>
              <a:gd name="connsiteX14" fmla="*/ 1 w 1636713"/>
              <a:gd name="connsiteY14" fmla="*/ 111913 h 16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36713" h="1639888">
                <a:moveTo>
                  <a:pt x="1" y="0"/>
                </a:moveTo>
                <a:lnTo>
                  <a:pt x="111918" y="0"/>
                </a:lnTo>
                <a:lnTo>
                  <a:pt x="535891" y="0"/>
                </a:lnTo>
                <a:lnTo>
                  <a:pt x="1524795" y="0"/>
                </a:lnTo>
                <a:lnTo>
                  <a:pt x="1636713" y="0"/>
                </a:lnTo>
                <a:lnTo>
                  <a:pt x="1636713" y="111918"/>
                </a:lnTo>
                <a:lnTo>
                  <a:pt x="1636713" y="1051455"/>
                </a:lnTo>
                <a:lnTo>
                  <a:pt x="1636713" y="1527970"/>
                </a:lnTo>
                <a:lnTo>
                  <a:pt x="1636713" y="1639888"/>
                </a:lnTo>
                <a:lnTo>
                  <a:pt x="1524795" y="1639888"/>
                </a:lnTo>
                <a:lnTo>
                  <a:pt x="535891" y="1639888"/>
                </a:lnTo>
                <a:lnTo>
                  <a:pt x="111918" y="1639888"/>
                </a:lnTo>
                <a:cubicBezTo>
                  <a:pt x="50107" y="1639888"/>
                  <a:pt x="0" y="1589781"/>
                  <a:pt x="0" y="1527970"/>
                </a:cubicBezTo>
                <a:lnTo>
                  <a:pt x="0" y="111918"/>
                </a:lnTo>
                <a:lnTo>
                  <a:pt x="1" y="11191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26" name="图片占位符 48"/>
          <p:cNvSpPr>
            <a:spLocks noGrp="1"/>
          </p:cNvSpPr>
          <p:nvPr>
            <p:ph type="pic" sz="quarter" idx="27"/>
          </p:nvPr>
        </p:nvSpPr>
        <p:spPr>
          <a:xfrm>
            <a:off x="8920867" y="3758225"/>
            <a:ext cx="1937403" cy="1941159"/>
          </a:xfrm>
          <a:custGeom>
            <a:avLst/>
            <a:gdLst>
              <a:gd name="connsiteX0" fmla="*/ 0 w 1636714"/>
              <a:gd name="connsiteY0" fmla="*/ 0 h 1639888"/>
              <a:gd name="connsiteX1" fmla="*/ 111918 w 1636714"/>
              <a:gd name="connsiteY1" fmla="*/ 0 h 1639888"/>
              <a:gd name="connsiteX2" fmla="*/ 1524795 w 1636714"/>
              <a:gd name="connsiteY2" fmla="*/ 0 h 1639888"/>
              <a:gd name="connsiteX3" fmla="*/ 1636714 w 1636714"/>
              <a:gd name="connsiteY3" fmla="*/ 0 h 1639888"/>
              <a:gd name="connsiteX4" fmla="*/ 1636714 w 1636714"/>
              <a:gd name="connsiteY4" fmla="*/ 784485 h 1639888"/>
              <a:gd name="connsiteX5" fmla="*/ 1636713 w 1636714"/>
              <a:gd name="connsiteY5" fmla="*/ 784485 h 1639888"/>
              <a:gd name="connsiteX6" fmla="*/ 1636713 w 1636714"/>
              <a:gd name="connsiteY6" fmla="*/ 1527970 h 1639888"/>
              <a:gd name="connsiteX7" fmla="*/ 1524795 w 1636714"/>
              <a:gd name="connsiteY7" fmla="*/ 1639888 h 1639888"/>
              <a:gd name="connsiteX8" fmla="*/ 1122891 w 1636714"/>
              <a:gd name="connsiteY8" fmla="*/ 1639888 h 1639888"/>
              <a:gd name="connsiteX9" fmla="*/ 111918 w 1636714"/>
              <a:gd name="connsiteY9" fmla="*/ 1639888 h 1639888"/>
              <a:gd name="connsiteX10" fmla="*/ 0 w 1636714"/>
              <a:gd name="connsiteY10" fmla="*/ 1639888 h 1639888"/>
              <a:gd name="connsiteX11" fmla="*/ 0 w 1636714"/>
              <a:gd name="connsiteY11" fmla="*/ 1527970 h 1639888"/>
              <a:gd name="connsiteX12" fmla="*/ 0 w 1636714"/>
              <a:gd name="connsiteY12" fmla="*/ 831845 h 1639888"/>
              <a:gd name="connsiteX13" fmla="*/ 0 w 1636714"/>
              <a:gd name="connsiteY13" fmla="*/ 784485 h 1639888"/>
              <a:gd name="connsiteX14" fmla="*/ 0 w 1636714"/>
              <a:gd name="connsiteY14" fmla="*/ 111918 h 1639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36714" h="1639888">
                <a:moveTo>
                  <a:pt x="0" y="0"/>
                </a:moveTo>
                <a:lnTo>
                  <a:pt x="111918" y="0"/>
                </a:lnTo>
                <a:lnTo>
                  <a:pt x="1524795" y="0"/>
                </a:lnTo>
                <a:lnTo>
                  <a:pt x="1636714" y="0"/>
                </a:lnTo>
                <a:lnTo>
                  <a:pt x="1636714" y="784485"/>
                </a:lnTo>
                <a:lnTo>
                  <a:pt x="1636713" y="784485"/>
                </a:lnTo>
                <a:lnTo>
                  <a:pt x="1636713" y="1527970"/>
                </a:lnTo>
                <a:cubicBezTo>
                  <a:pt x="1636713" y="1589781"/>
                  <a:pt x="1586606" y="1639888"/>
                  <a:pt x="1524795" y="1639888"/>
                </a:cubicBezTo>
                <a:lnTo>
                  <a:pt x="1122891" y="1639888"/>
                </a:lnTo>
                <a:lnTo>
                  <a:pt x="111918" y="1639888"/>
                </a:lnTo>
                <a:lnTo>
                  <a:pt x="0" y="1639888"/>
                </a:lnTo>
                <a:lnTo>
                  <a:pt x="0" y="1527970"/>
                </a:lnTo>
                <a:lnTo>
                  <a:pt x="0" y="831845"/>
                </a:lnTo>
                <a:lnTo>
                  <a:pt x="0" y="784485"/>
                </a:lnTo>
                <a:lnTo>
                  <a:pt x="0" y="11191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27" name="文本占位符 11"/>
          <p:cNvSpPr>
            <a:spLocks noGrp="1"/>
          </p:cNvSpPr>
          <p:nvPr>
            <p:ph type="body" sz="quarter" idx="22" hasCustomPrompt="1"/>
          </p:nvPr>
        </p:nvSpPr>
        <p:spPr>
          <a:xfrm>
            <a:off x="648000" y="1764000"/>
            <a:ext cx="5854400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三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矩形 37"/>
          <p:cNvSpPr/>
          <p:nvPr userDrawn="1"/>
        </p:nvSpPr>
        <p:spPr>
          <a:xfrm>
            <a:off x="5833319" y="4488866"/>
            <a:ext cx="1590584" cy="1596283"/>
          </a:xfrm>
          <a:prstGeom prst="rect">
            <a:avLst/>
          </a:prstGeom>
          <a:solidFill>
            <a:srgbClr val="A1A1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39" name="矩形 38"/>
          <p:cNvSpPr/>
          <p:nvPr userDrawn="1"/>
        </p:nvSpPr>
        <p:spPr>
          <a:xfrm>
            <a:off x="7556186" y="2788373"/>
            <a:ext cx="1593434" cy="1593434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 dirty="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40" name="矩形 39"/>
          <p:cNvSpPr/>
          <p:nvPr userDrawn="1"/>
        </p:nvSpPr>
        <p:spPr>
          <a:xfrm>
            <a:off x="4107600" y="4488866"/>
            <a:ext cx="1593435" cy="1593434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41" name="矩形 40"/>
          <p:cNvSpPr/>
          <p:nvPr userDrawn="1"/>
        </p:nvSpPr>
        <p:spPr>
          <a:xfrm>
            <a:off x="4102487" y="2788373"/>
            <a:ext cx="1593435" cy="1596283"/>
          </a:xfrm>
          <a:prstGeom prst="rect">
            <a:avLst/>
          </a:prstGeom>
          <a:solidFill>
            <a:srgbClr val="A1A1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42" name="矩形 41"/>
          <p:cNvSpPr/>
          <p:nvPr userDrawn="1"/>
        </p:nvSpPr>
        <p:spPr>
          <a:xfrm>
            <a:off x="634711" y="2788373"/>
            <a:ext cx="1618240" cy="1593434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43" name="矩形 42"/>
          <p:cNvSpPr/>
          <p:nvPr userDrawn="1"/>
        </p:nvSpPr>
        <p:spPr>
          <a:xfrm>
            <a:off x="7556186" y="4491718"/>
            <a:ext cx="1593434" cy="1593434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71" name="矩形 70"/>
          <p:cNvSpPr/>
          <p:nvPr userDrawn="1"/>
        </p:nvSpPr>
        <p:spPr>
          <a:xfrm>
            <a:off x="2381002" y="2800168"/>
            <a:ext cx="1593434" cy="1593434"/>
          </a:xfrm>
          <a:prstGeom prst="rect">
            <a:avLst/>
          </a:prstGeom>
          <a:solidFill>
            <a:srgbClr val="629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72" name="矩形 71"/>
          <p:cNvSpPr/>
          <p:nvPr userDrawn="1"/>
        </p:nvSpPr>
        <p:spPr>
          <a:xfrm>
            <a:off x="634711" y="4485035"/>
            <a:ext cx="1604161" cy="1604161"/>
          </a:xfrm>
          <a:prstGeom prst="rect">
            <a:avLst/>
          </a:prstGeom>
          <a:solidFill>
            <a:srgbClr val="629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矩形 72"/>
          <p:cNvSpPr/>
          <p:nvPr userDrawn="1"/>
        </p:nvSpPr>
        <p:spPr>
          <a:xfrm>
            <a:off x="2371156" y="4478138"/>
            <a:ext cx="1604161" cy="1604161"/>
          </a:xfrm>
          <a:prstGeom prst="rect">
            <a:avLst/>
          </a:prstGeom>
          <a:solidFill>
            <a:srgbClr val="17375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矩形 73"/>
          <p:cNvSpPr/>
          <p:nvPr userDrawn="1"/>
        </p:nvSpPr>
        <p:spPr>
          <a:xfrm>
            <a:off x="5823973" y="2788373"/>
            <a:ext cx="1604161" cy="1604161"/>
          </a:xfrm>
          <a:prstGeom prst="rect">
            <a:avLst/>
          </a:prstGeom>
          <a:solidFill>
            <a:srgbClr val="629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矩形 89"/>
          <p:cNvSpPr/>
          <p:nvPr userDrawn="1"/>
        </p:nvSpPr>
        <p:spPr>
          <a:xfrm>
            <a:off x="9264836" y="2800168"/>
            <a:ext cx="1593434" cy="1593434"/>
          </a:xfrm>
          <a:prstGeom prst="rect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 dirty="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sp>
        <p:nvSpPr>
          <p:cNvPr id="91" name="矩形 90"/>
          <p:cNvSpPr/>
          <p:nvPr userDrawn="1"/>
        </p:nvSpPr>
        <p:spPr>
          <a:xfrm>
            <a:off x="9264836" y="4503513"/>
            <a:ext cx="1593434" cy="1593434"/>
          </a:xfrm>
          <a:prstGeom prst="rect">
            <a:avLst/>
          </a:prstGeom>
          <a:solidFill>
            <a:srgbClr val="A1A1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sz="1050">
              <a:solidFill>
                <a:prstClr val="white"/>
              </a:solidFill>
              <a:latin typeface="Verdana" panose="020B0604030504040204" pitchFamily="34" charset="0"/>
              <a:ea typeface="微软雅黑" panose="020B0503020204020204" pitchFamily="34" charset="-122"/>
              <a:cs typeface="Verdana" panose="020B0604030504040204" pitchFamily="34" charset="0"/>
            </a:endParaRPr>
          </a:p>
        </p:txBody>
      </p:sp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占位符 1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8000" y="432000"/>
            <a:ext cx="10210270" cy="572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 </a:t>
            </a:r>
          </a:p>
        </p:txBody>
      </p:sp>
      <p:sp>
        <p:nvSpPr>
          <p:cNvPr id="19" name="文本占位符 11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8001" y="1116000"/>
            <a:ext cx="10210269" cy="3484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rgbClr val="00B3EA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8pt </a:t>
            </a:r>
            <a:endParaRPr lang="zh-CN" altLang="en-US" dirty="0"/>
          </a:p>
        </p:txBody>
      </p:sp>
      <p:sp>
        <p:nvSpPr>
          <p:cNvPr id="79" name="文本占位符 11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15744" y="2845716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lvl="0"/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0" name="文本占位符 11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2438294" y="2845716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1" name="文本占位符 1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160844" y="2845716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2" name="文本占位符 11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5883394" y="2845716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3" name="文本占位符 11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7605944" y="2845716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4" name="文本占位符 11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715744" y="4544373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5" name="文本占位符 11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2438294" y="4544373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6" name="文本占位符 11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160844" y="4544373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7" name="文本占位符 11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5883394" y="4544373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8" name="文本占位符 11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7605944" y="4544373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89" name="文本占位符 11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48000" y="1764000"/>
            <a:ext cx="10210270" cy="889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92" name="文本占位符 11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9328492" y="2856562"/>
            <a:ext cx="1466122" cy="14688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  <p:sp>
        <p:nvSpPr>
          <p:cNvPr id="93" name="文本占位符 11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328492" y="4555219"/>
            <a:ext cx="1466122" cy="14569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altLang="zh-CN" sz="1400" kern="1200" baseline="0" dirty="0" smtClean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正文 </a:t>
            </a:r>
            <a:r>
              <a:rPr lang="en-US" altLang="zh-CN" dirty="0"/>
              <a:t>14pt </a:t>
            </a:r>
            <a:r>
              <a:rPr lang="zh-CN" altLang="en-US" dirty="0"/>
              <a:t>微软雅黑，单击此处添加正文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10563572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分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9"/>
          <p:cNvSpPr>
            <a:spLocks noGrp="1"/>
          </p:cNvSpPr>
          <p:nvPr>
            <p:ph type="body" sz="quarter" idx="10" hasCustomPrompt="1"/>
          </p:nvPr>
        </p:nvSpPr>
        <p:spPr>
          <a:xfrm>
            <a:off x="2972329" y="2789784"/>
            <a:ext cx="8305271" cy="127843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600" b="1">
                <a:solidFill>
                  <a:srgbClr val="005BAC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分隔页：</a:t>
            </a:r>
            <a:endParaRPr lang="en-US" altLang="zh-CN" dirty="0"/>
          </a:p>
          <a:p>
            <a:r>
              <a:rPr lang="zh-CN" altLang="en-US" dirty="0"/>
              <a:t>微软雅黑 </a:t>
            </a:r>
            <a:r>
              <a:rPr lang="en-US" altLang="zh-CN" dirty="0"/>
              <a:t>Verdana 36pt </a:t>
            </a:r>
            <a:r>
              <a:rPr lang="zh-CN" altLang="en-US" dirty="0"/>
              <a:t>加粗</a:t>
            </a:r>
          </a:p>
        </p:txBody>
      </p:sp>
      <p:grpSp>
        <p:nvGrpSpPr>
          <p:cNvPr id="4" name="组合 3"/>
          <p:cNvGrpSpPr/>
          <p:nvPr userDrawn="1"/>
        </p:nvGrpSpPr>
        <p:grpSpPr>
          <a:xfrm flipH="1">
            <a:off x="795943" y="1830878"/>
            <a:ext cx="1571106" cy="3196245"/>
            <a:chOff x="795943" y="1234670"/>
            <a:chExt cx="1571106" cy="3196245"/>
          </a:xfrm>
        </p:grpSpPr>
        <p:sp>
          <p:nvSpPr>
            <p:cNvPr id="5" name="单圆角矩形 4"/>
            <p:cNvSpPr/>
            <p:nvPr userDrawn="1"/>
          </p:nvSpPr>
          <p:spPr>
            <a:xfrm flipH="1">
              <a:off x="795943" y="1234670"/>
              <a:ext cx="1571106" cy="1571106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单圆角矩形 5"/>
            <p:cNvSpPr/>
            <p:nvPr userDrawn="1"/>
          </p:nvSpPr>
          <p:spPr>
            <a:xfrm flipH="1" flipV="1">
              <a:off x="795943" y="2859809"/>
              <a:ext cx="1571106" cy="1571106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88502732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1764000"/>
            <a:ext cx="10210271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1" name="矩形 10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10427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</a:t>
            </a:r>
            <a:endParaRPr lang="en-US" altLang="zh-CN" dirty="0"/>
          </a:p>
          <a:p>
            <a:r>
              <a:rPr lang="zh-CN" alt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2752832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1764000"/>
            <a:ext cx="10210271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  <a:p>
            <a:pPr lvl="0"/>
            <a:endParaRPr lang="en-US" altLang="zh-CN" dirty="0"/>
          </a:p>
        </p:txBody>
      </p:sp>
      <p:sp>
        <p:nvSpPr>
          <p:cNvPr id="11" name="矩形 10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10427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</a:t>
            </a:r>
            <a:endParaRPr lang="en-US" altLang="zh-CN" dirty="0"/>
          </a:p>
          <a:p>
            <a:r>
              <a:rPr lang="zh-CN" alt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8283992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正文页 两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矩形 12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1" y="1764000"/>
            <a:ext cx="4823886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8" name="文本占位符 11"/>
          <p:cNvSpPr>
            <a:spLocks noGrp="1"/>
          </p:cNvSpPr>
          <p:nvPr>
            <p:ph type="body" sz="quarter" idx="16" hasCustomPrompt="1"/>
          </p:nvPr>
        </p:nvSpPr>
        <p:spPr>
          <a:xfrm>
            <a:off x="5894385" y="1764000"/>
            <a:ext cx="4963886" cy="3935384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endParaRPr lang="en-US" altLang="zh-CN" dirty="0"/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  <p:sp>
        <p:nvSpPr>
          <p:cNvPr id="10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10427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</a:t>
            </a:r>
            <a:endParaRPr lang="en-US" altLang="zh-CN" dirty="0"/>
          </a:p>
          <a:p>
            <a:r>
              <a:rPr lang="zh-CN" alt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3031448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三表下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1722100" y="514350"/>
            <a:ext cx="469900" cy="960378"/>
            <a:chOff x="11802593" y="514350"/>
            <a:chExt cx="407324" cy="832486"/>
          </a:xfrm>
        </p:grpSpPr>
        <p:sp>
          <p:nvSpPr>
            <p:cNvPr id="6" name="单圆角矩形 5"/>
            <p:cNvSpPr/>
            <p:nvPr/>
          </p:nvSpPr>
          <p:spPr>
            <a:xfrm flipH="1">
              <a:off x="11802593" y="514350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B3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单圆角矩形 6"/>
            <p:cNvSpPr/>
            <p:nvPr/>
          </p:nvSpPr>
          <p:spPr>
            <a:xfrm flipH="1" flipV="1">
              <a:off x="11802593" y="939512"/>
              <a:ext cx="407324" cy="407324"/>
            </a:xfrm>
            <a:prstGeom prst="round1Rect">
              <a:avLst>
                <a:gd name="adj" fmla="val 8202"/>
              </a:avLst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660929" y="6378806"/>
            <a:ext cx="17235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1000" dirty="0">
                <a:solidFill>
                  <a:srgbClr val="3232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此处标注东软信息安全密级</a:t>
            </a:r>
            <a:endParaRPr lang="zh-CN" altLang="en-US" sz="1000" dirty="0">
              <a:solidFill>
                <a:srgbClr val="32323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5" name="组合 44"/>
          <p:cNvGrpSpPr/>
          <p:nvPr userDrawn="1"/>
        </p:nvGrpSpPr>
        <p:grpSpPr>
          <a:xfrm>
            <a:off x="9109729" y="2805322"/>
            <a:ext cx="1762683" cy="1762683"/>
            <a:chOff x="5074007" y="2605210"/>
            <a:chExt cx="1376915" cy="1376915"/>
          </a:xfrm>
        </p:grpSpPr>
        <p:sp>
          <p:nvSpPr>
            <p:cNvPr id="46" name="矩形 45"/>
            <p:cNvSpPr/>
            <p:nvPr/>
          </p:nvSpPr>
          <p:spPr>
            <a:xfrm>
              <a:off x="5074007" y="2605210"/>
              <a:ext cx="1376915" cy="1376915"/>
            </a:xfrm>
            <a:prstGeom prst="rect">
              <a:avLst/>
            </a:prstGeom>
            <a:solidFill>
              <a:srgbClr val="629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sp>
          <p:nvSpPr>
            <p:cNvPr id="47" name="Freeform 19"/>
            <p:cNvSpPr/>
            <p:nvPr/>
          </p:nvSpPr>
          <p:spPr bwMode="auto">
            <a:xfrm>
              <a:off x="6145159" y="3078509"/>
              <a:ext cx="150832" cy="145379"/>
            </a:xfrm>
            <a:custGeom>
              <a:avLst/>
              <a:gdLst>
                <a:gd name="T0" fmla="*/ 83 w 83"/>
                <a:gd name="T1" fmla="*/ 26 h 80"/>
                <a:gd name="T2" fmla="*/ 57 w 83"/>
                <a:gd name="T3" fmla="*/ 26 h 80"/>
                <a:gd name="T4" fmla="*/ 57 w 83"/>
                <a:gd name="T5" fmla="*/ 0 h 80"/>
                <a:gd name="T6" fmla="*/ 29 w 83"/>
                <a:gd name="T7" fmla="*/ 0 h 80"/>
                <a:gd name="T8" fmla="*/ 29 w 83"/>
                <a:gd name="T9" fmla="*/ 26 h 80"/>
                <a:gd name="T10" fmla="*/ 0 w 83"/>
                <a:gd name="T11" fmla="*/ 26 h 80"/>
                <a:gd name="T12" fmla="*/ 0 w 83"/>
                <a:gd name="T13" fmla="*/ 54 h 80"/>
                <a:gd name="T14" fmla="*/ 29 w 83"/>
                <a:gd name="T15" fmla="*/ 54 h 80"/>
                <a:gd name="T16" fmla="*/ 29 w 83"/>
                <a:gd name="T17" fmla="*/ 80 h 80"/>
                <a:gd name="T18" fmla="*/ 57 w 83"/>
                <a:gd name="T19" fmla="*/ 80 h 80"/>
                <a:gd name="T20" fmla="*/ 57 w 83"/>
                <a:gd name="T21" fmla="*/ 54 h 80"/>
                <a:gd name="T22" fmla="*/ 83 w 83"/>
                <a:gd name="T23" fmla="*/ 54 h 80"/>
                <a:gd name="T24" fmla="*/ 83 w 83"/>
                <a:gd name="T25" fmla="*/ 2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80">
                  <a:moveTo>
                    <a:pt x="83" y="26"/>
                  </a:moveTo>
                  <a:lnTo>
                    <a:pt x="57" y="26"/>
                  </a:lnTo>
                  <a:lnTo>
                    <a:pt x="57" y="0"/>
                  </a:lnTo>
                  <a:lnTo>
                    <a:pt x="29" y="0"/>
                  </a:lnTo>
                  <a:lnTo>
                    <a:pt x="29" y="26"/>
                  </a:lnTo>
                  <a:lnTo>
                    <a:pt x="0" y="26"/>
                  </a:lnTo>
                  <a:lnTo>
                    <a:pt x="0" y="54"/>
                  </a:lnTo>
                  <a:lnTo>
                    <a:pt x="29" y="54"/>
                  </a:lnTo>
                  <a:lnTo>
                    <a:pt x="29" y="80"/>
                  </a:lnTo>
                  <a:lnTo>
                    <a:pt x="57" y="80"/>
                  </a:lnTo>
                  <a:lnTo>
                    <a:pt x="57" y="54"/>
                  </a:lnTo>
                  <a:lnTo>
                    <a:pt x="83" y="54"/>
                  </a:lnTo>
                  <a:lnTo>
                    <a:pt x="83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48" name="Freeform 20"/>
            <p:cNvSpPr/>
            <p:nvPr/>
          </p:nvSpPr>
          <p:spPr bwMode="auto">
            <a:xfrm>
              <a:off x="6099726" y="3274770"/>
              <a:ext cx="143562" cy="243510"/>
            </a:xfrm>
            <a:custGeom>
              <a:avLst/>
              <a:gdLst>
                <a:gd name="T0" fmla="*/ 17 w 25"/>
                <a:gd name="T1" fmla="*/ 25 h 42"/>
                <a:gd name="T2" fmla="*/ 8 w 25"/>
                <a:gd name="T3" fmla="*/ 34 h 42"/>
                <a:gd name="T4" fmla="*/ 5 w 25"/>
                <a:gd name="T5" fmla="*/ 34 h 42"/>
                <a:gd name="T6" fmla="*/ 0 w 25"/>
                <a:gd name="T7" fmla="*/ 38 h 42"/>
                <a:gd name="T8" fmla="*/ 5 w 25"/>
                <a:gd name="T9" fmla="*/ 42 h 42"/>
                <a:gd name="T10" fmla="*/ 8 w 25"/>
                <a:gd name="T11" fmla="*/ 42 h 42"/>
                <a:gd name="T12" fmla="*/ 25 w 25"/>
                <a:gd name="T13" fmla="*/ 25 h 42"/>
                <a:gd name="T14" fmla="*/ 25 w 25"/>
                <a:gd name="T15" fmla="*/ 0 h 42"/>
                <a:gd name="T16" fmla="*/ 17 w 25"/>
                <a:gd name="T17" fmla="*/ 0 h 42"/>
                <a:gd name="T18" fmla="*/ 17 w 25"/>
                <a:gd name="T19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42">
                  <a:moveTo>
                    <a:pt x="17" y="25"/>
                  </a:moveTo>
                  <a:cubicBezTo>
                    <a:pt x="17" y="30"/>
                    <a:pt x="13" y="34"/>
                    <a:pt x="8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2" y="34"/>
                    <a:pt x="0" y="36"/>
                    <a:pt x="0" y="38"/>
                  </a:cubicBezTo>
                  <a:cubicBezTo>
                    <a:pt x="0" y="41"/>
                    <a:pt x="2" y="42"/>
                    <a:pt x="5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18" y="42"/>
                    <a:pt x="25" y="35"/>
                    <a:pt x="25" y="25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7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49" name="Freeform 21"/>
            <p:cNvSpPr/>
            <p:nvPr/>
          </p:nvSpPr>
          <p:spPr bwMode="auto">
            <a:xfrm>
              <a:off x="5076621" y="2847719"/>
              <a:ext cx="1166668" cy="179908"/>
            </a:xfrm>
            <a:custGeom>
              <a:avLst/>
              <a:gdLst>
                <a:gd name="T0" fmla="*/ 186 w 203"/>
                <a:gd name="T1" fmla="*/ 0 h 31"/>
                <a:gd name="T2" fmla="*/ 0 w 203"/>
                <a:gd name="T3" fmla="*/ 0 h 31"/>
                <a:gd name="T4" fmla="*/ 0 w 203"/>
                <a:gd name="T5" fmla="*/ 9 h 31"/>
                <a:gd name="T6" fmla="*/ 186 w 203"/>
                <a:gd name="T7" fmla="*/ 9 h 31"/>
                <a:gd name="T8" fmla="*/ 195 w 203"/>
                <a:gd name="T9" fmla="*/ 17 h 31"/>
                <a:gd name="T10" fmla="*/ 195 w 203"/>
                <a:gd name="T11" fmla="*/ 31 h 31"/>
                <a:gd name="T12" fmla="*/ 203 w 203"/>
                <a:gd name="T13" fmla="*/ 31 h 31"/>
                <a:gd name="T14" fmla="*/ 203 w 203"/>
                <a:gd name="T15" fmla="*/ 17 h 31"/>
                <a:gd name="T16" fmla="*/ 186 w 203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31">
                  <a:moveTo>
                    <a:pt x="1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91" y="9"/>
                    <a:pt x="195" y="13"/>
                    <a:pt x="195" y="17"/>
                  </a:cubicBezTo>
                  <a:cubicBezTo>
                    <a:pt x="195" y="31"/>
                    <a:pt x="195" y="31"/>
                    <a:pt x="195" y="31"/>
                  </a:cubicBezTo>
                  <a:cubicBezTo>
                    <a:pt x="203" y="31"/>
                    <a:pt x="203" y="31"/>
                    <a:pt x="203" y="31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203" y="8"/>
                    <a:pt x="196" y="0"/>
                    <a:pt x="18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0" name="Freeform 22"/>
            <p:cNvSpPr>
              <a:spLocks noEditPoints="1"/>
            </p:cNvSpPr>
            <p:nvPr/>
          </p:nvSpPr>
          <p:spPr bwMode="auto">
            <a:xfrm>
              <a:off x="5278335" y="3580066"/>
              <a:ext cx="648756" cy="278039"/>
            </a:xfrm>
            <a:custGeom>
              <a:avLst/>
              <a:gdLst>
                <a:gd name="T0" fmla="*/ 113 w 113"/>
                <a:gd name="T1" fmla="*/ 31 h 48"/>
                <a:gd name="T2" fmla="*/ 95 w 113"/>
                <a:gd name="T3" fmla="*/ 12 h 48"/>
                <a:gd name="T4" fmla="*/ 70 w 113"/>
                <a:gd name="T5" fmla="*/ 2 h 48"/>
                <a:gd name="T6" fmla="*/ 55 w 113"/>
                <a:gd name="T7" fmla="*/ 0 h 48"/>
                <a:gd name="T8" fmla="*/ 42 w 113"/>
                <a:gd name="T9" fmla="*/ 2 h 48"/>
                <a:gd name="T10" fmla="*/ 18 w 113"/>
                <a:gd name="T11" fmla="*/ 12 h 48"/>
                <a:gd name="T12" fmla="*/ 0 w 113"/>
                <a:gd name="T13" fmla="*/ 31 h 48"/>
                <a:gd name="T14" fmla="*/ 1 w 113"/>
                <a:gd name="T15" fmla="*/ 34 h 48"/>
                <a:gd name="T16" fmla="*/ 58 w 113"/>
                <a:gd name="T17" fmla="*/ 48 h 48"/>
                <a:gd name="T18" fmla="*/ 110 w 113"/>
                <a:gd name="T19" fmla="*/ 38 h 48"/>
                <a:gd name="T20" fmla="*/ 113 w 113"/>
                <a:gd name="T21" fmla="*/ 32 h 48"/>
                <a:gd name="T22" fmla="*/ 113 w 113"/>
                <a:gd name="T23" fmla="*/ 31 h 48"/>
                <a:gd name="T24" fmla="*/ 58 w 113"/>
                <a:gd name="T25" fmla="*/ 40 h 48"/>
                <a:gd name="T26" fmla="*/ 9 w 113"/>
                <a:gd name="T27" fmla="*/ 31 h 48"/>
                <a:gd name="T28" fmla="*/ 22 w 113"/>
                <a:gd name="T29" fmla="*/ 19 h 48"/>
                <a:gd name="T30" fmla="*/ 44 w 113"/>
                <a:gd name="T31" fmla="*/ 10 h 48"/>
                <a:gd name="T32" fmla="*/ 45 w 113"/>
                <a:gd name="T33" fmla="*/ 10 h 48"/>
                <a:gd name="T34" fmla="*/ 55 w 113"/>
                <a:gd name="T35" fmla="*/ 9 h 48"/>
                <a:gd name="T36" fmla="*/ 69 w 113"/>
                <a:gd name="T37" fmla="*/ 10 h 48"/>
                <a:gd name="T38" fmla="*/ 90 w 113"/>
                <a:gd name="T39" fmla="*/ 19 h 48"/>
                <a:gd name="T40" fmla="*/ 104 w 113"/>
                <a:gd name="T41" fmla="*/ 32 h 48"/>
                <a:gd name="T42" fmla="*/ 58 w 113"/>
                <a:gd name="T43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3" h="48">
                  <a:moveTo>
                    <a:pt x="113" y="31"/>
                  </a:moveTo>
                  <a:cubicBezTo>
                    <a:pt x="111" y="24"/>
                    <a:pt x="105" y="18"/>
                    <a:pt x="95" y="12"/>
                  </a:cubicBezTo>
                  <a:cubicBezTo>
                    <a:pt x="86" y="6"/>
                    <a:pt x="75" y="3"/>
                    <a:pt x="70" y="2"/>
                  </a:cubicBezTo>
                  <a:cubicBezTo>
                    <a:pt x="65" y="1"/>
                    <a:pt x="60" y="0"/>
                    <a:pt x="55" y="0"/>
                  </a:cubicBezTo>
                  <a:cubicBezTo>
                    <a:pt x="48" y="0"/>
                    <a:pt x="43" y="1"/>
                    <a:pt x="42" y="2"/>
                  </a:cubicBezTo>
                  <a:cubicBezTo>
                    <a:pt x="37" y="3"/>
                    <a:pt x="27" y="7"/>
                    <a:pt x="18" y="12"/>
                  </a:cubicBezTo>
                  <a:cubicBezTo>
                    <a:pt x="8" y="18"/>
                    <a:pt x="2" y="24"/>
                    <a:pt x="0" y="31"/>
                  </a:cubicBezTo>
                  <a:cubicBezTo>
                    <a:pt x="0" y="32"/>
                    <a:pt x="0" y="33"/>
                    <a:pt x="1" y="34"/>
                  </a:cubicBezTo>
                  <a:cubicBezTo>
                    <a:pt x="2" y="36"/>
                    <a:pt x="10" y="48"/>
                    <a:pt x="58" y="48"/>
                  </a:cubicBezTo>
                  <a:cubicBezTo>
                    <a:pt x="86" y="48"/>
                    <a:pt x="104" y="45"/>
                    <a:pt x="110" y="38"/>
                  </a:cubicBezTo>
                  <a:cubicBezTo>
                    <a:pt x="113" y="35"/>
                    <a:pt x="113" y="32"/>
                    <a:pt x="113" y="32"/>
                  </a:cubicBezTo>
                  <a:cubicBezTo>
                    <a:pt x="113" y="31"/>
                    <a:pt x="113" y="31"/>
                    <a:pt x="113" y="31"/>
                  </a:cubicBezTo>
                  <a:close/>
                  <a:moveTo>
                    <a:pt x="58" y="40"/>
                  </a:moveTo>
                  <a:cubicBezTo>
                    <a:pt x="24" y="40"/>
                    <a:pt x="13" y="34"/>
                    <a:pt x="9" y="31"/>
                  </a:cubicBezTo>
                  <a:cubicBezTo>
                    <a:pt x="11" y="28"/>
                    <a:pt x="14" y="24"/>
                    <a:pt x="22" y="19"/>
                  </a:cubicBezTo>
                  <a:cubicBezTo>
                    <a:pt x="31" y="14"/>
                    <a:pt x="41" y="10"/>
                    <a:pt x="44" y="10"/>
                  </a:cubicBezTo>
                  <a:cubicBezTo>
                    <a:pt x="44" y="10"/>
                    <a:pt x="44" y="10"/>
                    <a:pt x="45" y="10"/>
                  </a:cubicBezTo>
                  <a:cubicBezTo>
                    <a:pt x="45" y="10"/>
                    <a:pt x="48" y="9"/>
                    <a:pt x="55" y="9"/>
                  </a:cubicBezTo>
                  <a:cubicBezTo>
                    <a:pt x="59" y="9"/>
                    <a:pt x="64" y="9"/>
                    <a:pt x="69" y="10"/>
                  </a:cubicBezTo>
                  <a:cubicBezTo>
                    <a:pt x="72" y="11"/>
                    <a:pt x="82" y="14"/>
                    <a:pt x="90" y="19"/>
                  </a:cubicBezTo>
                  <a:cubicBezTo>
                    <a:pt x="99" y="25"/>
                    <a:pt x="103" y="29"/>
                    <a:pt x="104" y="32"/>
                  </a:cubicBezTo>
                  <a:cubicBezTo>
                    <a:pt x="102" y="34"/>
                    <a:pt x="94" y="40"/>
                    <a:pt x="58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1" name="Freeform 23"/>
            <p:cNvSpPr>
              <a:spLocks noEditPoints="1"/>
            </p:cNvSpPr>
            <p:nvPr/>
          </p:nvSpPr>
          <p:spPr bwMode="auto">
            <a:xfrm>
              <a:off x="5450971" y="3263867"/>
              <a:ext cx="298027" cy="305295"/>
            </a:xfrm>
            <a:custGeom>
              <a:avLst/>
              <a:gdLst>
                <a:gd name="T0" fmla="*/ 0 w 52"/>
                <a:gd name="T1" fmla="*/ 26 h 53"/>
                <a:gd name="T2" fmla="*/ 26 w 52"/>
                <a:gd name="T3" fmla="*/ 53 h 53"/>
                <a:gd name="T4" fmla="*/ 52 w 52"/>
                <a:gd name="T5" fmla="*/ 26 h 53"/>
                <a:gd name="T6" fmla="*/ 26 w 52"/>
                <a:gd name="T7" fmla="*/ 0 h 53"/>
                <a:gd name="T8" fmla="*/ 0 w 52"/>
                <a:gd name="T9" fmla="*/ 26 h 53"/>
                <a:gd name="T10" fmla="*/ 26 w 52"/>
                <a:gd name="T11" fmla="*/ 9 h 53"/>
                <a:gd name="T12" fmla="*/ 44 w 52"/>
                <a:gd name="T13" fmla="*/ 26 h 53"/>
                <a:gd name="T14" fmla="*/ 26 w 52"/>
                <a:gd name="T15" fmla="*/ 44 h 53"/>
                <a:gd name="T16" fmla="*/ 9 w 52"/>
                <a:gd name="T17" fmla="*/ 26 h 53"/>
                <a:gd name="T18" fmla="*/ 26 w 52"/>
                <a:gd name="T19" fmla="*/ 9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3">
                  <a:moveTo>
                    <a:pt x="0" y="26"/>
                  </a:moveTo>
                  <a:cubicBezTo>
                    <a:pt x="0" y="41"/>
                    <a:pt x="12" y="53"/>
                    <a:pt x="26" y="53"/>
                  </a:cubicBezTo>
                  <a:cubicBezTo>
                    <a:pt x="41" y="53"/>
                    <a:pt x="52" y="41"/>
                    <a:pt x="52" y="26"/>
                  </a:cubicBezTo>
                  <a:cubicBezTo>
                    <a:pt x="52" y="12"/>
                    <a:pt x="41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lose/>
                  <a:moveTo>
                    <a:pt x="26" y="9"/>
                  </a:moveTo>
                  <a:cubicBezTo>
                    <a:pt x="36" y="9"/>
                    <a:pt x="44" y="17"/>
                    <a:pt x="44" y="26"/>
                  </a:cubicBezTo>
                  <a:cubicBezTo>
                    <a:pt x="44" y="36"/>
                    <a:pt x="36" y="44"/>
                    <a:pt x="26" y="44"/>
                  </a:cubicBezTo>
                  <a:cubicBezTo>
                    <a:pt x="17" y="44"/>
                    <a:pt x="9" y="36"/>
                    <a:pt x="9" y="26"/>
                  </a:cubicBezTo>
                  <a:cubicBezTo>
                    <a:pt x="9" y="17"/>
                    <a:pt x="17" y="9"/>
                    <a:pt x="26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2" name="Freeform 24"/>
            <p:cNvSpPr>
              <a:spLocks noEditPoints="1"/>
            </p:cNvSpPr>
            <p:nvPr/>
          </p:nvSpPr>
          <p:spPr bwMode="auto">
            <a:xfrm>
              <a:off x="5076621" y="3229341"/>
              <a:ext cx="408879" cy="461578"/>
            </a:xfrm>
            <a:custGeom>
              <a:avLst/>
              <a:gdLst>
                <a:gd name="T0" fmla="*/ 69 w 71"/>
                <a:gd name="T1" fmla="*/ 53 h 80"/>
                <a:gd name="T2" fmla="*/ 46 w 71"/>
                <a:gd name="T3" fmla="*/ 43 h 80"/>
                <a:gd name="T4" fmla="*/ 38 w 71"/>
                <a:gd name="T5" fmla="*/ 42 h 80"/>
                <a:gd name="T6" fmla="*/ 56 w 71"/>
                <a:gd name="T7" fmla="*/ 21 h 80"/>
                <a:gd name="T8" fmla="*/ 36 w 71"/>
                <a:gd name="T9" fmla="*/ 0 h 80"/>
                <a:gd name="T10" fmla="*/ 15 w 71"/>
                <a:gd name="T11" fmla="*/ 21 h 80"/>
                <a:gd name="T12" fmla="*/ 33 w 71"/>
                <a:gd name="T13" fmla="*/ 42 h 80"/>
                <a:gd name="T14" fmla="*/ 25 w 71"/>
                <a:gd name="T15" fmla="*/ 43 h 80"/>
                <a:gd name="T16" fmla="*/ 6 w 71"/>
                <a:gd name="T17" fmla="*/ 51 h 80"/>
                <a:gd name="T18" fmla="*/ 0 w 71"/>
                <a:gd name="T19" fmla="*/ 55 h 80"/>
                <a:gd name="T20" fmla="*/ 0 w 71"/>
                <a:gd name="T21" fmla="*/ 74 h 80"/>
                <a:gd name="T22" fmla="*/ 38 w 71"/>
                <a:gd name="T23" fmla="*/ 80 h 80"/>
                <a:gd name="T24" fmla="*/ 42 w 71"/>
                <a:gd name="T25" fmla="*/ 76 h 80"/>
                <a:gd name="T26" fmla="*/ 38 w 71"/>
                <a:gd name="T27" fmla="*/ 71 h 80"/>
                <a:gd name="T28" fmla="*/ 2 w 71"/>
                <a:gd name="T29" fmla="*/ 66 h 80"/>
                <a:gd name="T30" fmla="*/ 11 w 71"/>
                <a:gd name="T31" fmla="*/ 58 h 80"/>
                <a:gd name="T32" fmla="*/ 26 w 71"/>
                <a:gd name="T33" fmla="*/ 51 h 80"/>
                <a:gd name="T34" fmla="*/ 27 w 71"/>
                <a:gd name="T35" fmla="*/ 51 h 80"/>
                <a:gd name="T36" fmla="*/ 45 w 71"/>
                <a:gd name="T37" fmla="*/ 51 h 80"/>
                <a:gd name="T38" fmla="*/ 64 w 71"/>
                <a:gd name="T39" fmla="*/ 60 h 80"/>
                <a:gd name="T40" fmla="*/ 70 w 71"/>
                <a:gd name="T41" fmla="*/ 59 h 80"/>
                <a:gd name="T42" fmla="*/ 69 w 71"/>
                <a:gd name="T43" fmla="*/ 53 h 80"/>
                <a:gd name="T44" fmla="*/ 23 w 71"/>
                <a:gd name="T45" fmla="*/ 21 h 80"/>
                <a:gd name="T46" fmla="*/ 36 w 71"/>
                <a:gd name="T47" fmla="*/ 9 h 80"/>
                <a:gd name="T48" fmla="*/ 48 w 71"/>
                <a:gd name="T49" fmla="*/ 21 h 80"/>
                <a:gd name="T50" fmla="*/ 36 w 71"/>
                <a:gd name="T51" fmla="*/ 33 h 80"/>
                <a:gd name="T52" fmla="*/ 23 w 71"/>
                <a:gd name="T53" fmla="*/ 2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" h="80">
                  <a:moveTo>
                    <a:pt x="69" y="53"/>
                  </a:moveTo>
                  <a:cubicBezTo>
                    <a:pt x="61" y="48"/>
                    <a:pt x="50" y="43"/>
                    <a:pt x="46" y="43"/>
                  </a:cubicBezTo>
                  <a:cubicBezTo>
                    <a:pt x="43" y="42"/>
                    <a:pt x="40" y="42"/>
                    <a:pt x="38" y="42"/>
                  </a:cubicBezTo>
                  <a:cubicBezTo>
                    <a:pt x="48" y="41"/>
                    <a:pt x="56" y="32"/>
                    <a:pt x="56" y="21"/>
                  </a:cubicBezTo>
                  <a:cubicBezTo>
                    <a:pt x="56" y="10"/>
                    <a:pt x="47" y="0"/>
                    <a:pt x="36" y="0"/>
                  </a:cubicBezTo>
                  <a:cubicBezTo>
                    <a:pt x="24" y="0"/>
                    <a:pt x="15" y="10"/>
                    <a:pt x="15" y="21"/>
                  </a:cubicBezTo>
                  <a:cubicBezTo>
                    <a:pt x="15" y="32"/>
                    <a:pt x="23" y="40"/>
                    <a:pt x="33" y="42"/>
                  </a:cubicBezTo>
                  <a:cubicBezTo>
                    <a:pt x="29" y="42"/>
                    <a:pt x="26" y="42"/>
                    <a:pt x="25" y="43"/>
                  </a:cubicBezTo>
                  <a:cubicBezTo>
                    <a:pt x="21" y="43"/>
                    <a:pt x="13" y="47"/>
                    <a:pt x="6" y="51"/>
                  </a:cubicBezTo>
                  <a:cubicBezTo>
                    <a:pt x="4" y="52"/>
                    <a:pt x="1" y="54"/>
                    <a:pt x="0" y="5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6" y="77"/>
                    <a:pt x="17" y="80"/>
                    <a:pt x="38" y="80"/>
                  </a:cubicBezTo>
                  <a:cubicBezTo>
                    <a:pt x="40" y="80"/>
                    <a:pt x="42" y="78"/>
                    <a:pt x="42" y="76"/>
                  </a:cubicBezTo>
                  <a:cubicBezTo>
                    <a:pt x="42" y="73"/>
                    <a:pt x="40" y="71"/>
                    <a:pt x="38" y="71"/>
                  </a:cubicBezTo>
                  <a:cubicBezTo>
                    <a:pt x="14" y="71"/>
                    <a:pt x="5" y="68"/>
                    <a:pt x="2" y="66"/>
                  </a:cubicBezTo>
                  <a:cubicBezTo>
                    <a:pt x="3" y="64"/>
                    <a:pt x="5" y="61"/>
                    <a:pt x="11" y="58"/>
                  </a:cubicBezTo>
                  <a:cubicBezTo>
                    <a:pt x="17" y="54"/>
                    <a:pt x="24" y="51"/>
                    <a:pt x="26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7" y="51"/>
                    <a:pt x="33" y="49"/>
                    <a:pt x="45" y="51"/>
                  </a:cubicBezTo>
                  <a:cubicBezTo>
                    <a:pt x="47" y="51"/>
                    <a:pt x="57" y="55"/>
                    <a:pt x="64" y="60"/>
                  </a:cubicBezTo>
                  <a:cubicBezTo>
                    <a:pt x="66" y="61"/>
                    <a:pt x="69" y="61"/>
                    <a:pt x="70" y="59"/>
                  </a:cubicBezTo>
                  <a:cubicBezTo>
                    <a:pt x="71" y="57"/>
                    <a:pt x="71" y="54"/>
                    <a:pt x="69" y="53"/>
                  </a:cubicBezTo>
                  <a:close/>
                  <a:moveTo>
                    <a:pt x="23" y="21"/>
                  </a:moveTo>
                  <a:cubicBezTo>
                    <a:pt x="23" y="14"/>
                    <a:pt x="29" y="9"/>
                    <a:pt x="36" y="9"/>
                  </a:cubicBezTo>
                  <a:cubicBezTo>
                    <a:pt x="42" y="9"/>
                    <a:pt x="48" y="14"/>
                    <a:pt x="48" y="21"/>
                  </a:cubicBezTo>
                  <a:cubicBezTo>
                    <a:pt x="48" y="28"/>
                    <a:pt x="42" y="33"/>
                    <a:pt x="36" y="33"/>
                  </a:cubicBezTo>
                  <a:cubicBezTo>
                    <a:pt x="29" y="33"/>
                    <a:pt x="23" y="28"/>
                    <a:pt x="23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  <p:sp>
          <p:nvSpPr>
            <p:cNvPr id="53" name="Freeform 25"/>
            <p:cNvSpPr>
              <a:spLocks noEditPoints="1"/>
            </p:cNvSpPr>
            <p:nvPr/>
          </p:nvSpPr>
          <p:spPr bwMode="auto">
            <a:xfrm>
              <a:off x="5738096" y="3229341"/>
              <a:ext cx="425234" cy="461578"/>
            </a:xfrm>
            <a:custGeom>
              <a:avLst/>
              <a:gdLst>
                <a:gd name="T0" fmla="*/ 60 w 74"/>
                <a:gd name="T1" fmla="*/ 51 h 80"/>
                <a:gd name="T2" fmla="*/ 42 w 74"/>
                <a:gd name="T3" fmla="*/ 43 h 80"/>
                <a:gd name="T4" fmla="*/ 33 w 74"/>
                <a:gd name="T5" fmla="*/ 42 h 80"/>
                <a:gd name="T6" fmla="*/ 51 w 74"/>
                <a:gd name="T7" fmla="*/ 21 h 80"/>
                <a:gd name="T8" fmla="*/ 31 w 74"/>
                <a:gd name="T9" fmla="*/ 0 h 80"/>
                <a:gd name="T10" fmla="*/ 10 w 74"/>
                <a:gd name="T11" fmla="*/ 21 h 80"/>
                <a:gd name="T12" fmla="*/ 28 w 74"/>
                <a:gd name="T13" fmla="*/ 42 h 80"/>
                <a:gd name="T14" fmla="*/ 20 w 74"/>
                <a:gd name="T15" fmla="*/ 43 h 80"/>
                <a:gd name="T16" fmla="*/ 2 w 74"/>
                <a:gd name="T17" fmla="*/ 50 h 80"/>
                <a:gd name="T18" fmla="*/ 1 w 74"/>
                <a:gd name="T19" fmla="*/ 56 h 80"/>
                <a:gd name="T20" fmla="*/ 7 w 74"/>
                <a:gd name="T21" fmla="*/ 57 h 80"/>
                <a:gd name="T22" fmla="*/ 21 w 74"/>
                <a:gd name="T23" fmla="*/ 51 h 80"/>
                <a:gd name="T24" fmla="*/ 39 w 74"/>
                <a:gd name="T25" fmla="*/ 51 h 80"/>
                <a:gd name="T26" fmla="*/ 40 w 74"/>
                <a:gd name="T27" fmla="*/ 51 h 80"/>
                <a:gd name="T28" fmla="*/ 56 w 74"/>
                <a:gd name="T29" fmla="*/ 58 h 80"/>
                <a:gd name="T30" fmla="*/ 65 w 74"/>
                <a:gd name="T31" fmla="*/ 66 h 80"/>
                <a:gd name="T32" fmla="*/ 35 w 74"/>
                <a:gd name="T33" fmla="*/ 71 h 80"/>
                <a:gd name="T34" fmla="*/ 31 w 74"/>
                <a:gd name="T35" fmla="*/ 76 h 80"/>
                <a:gd name="T36" fmla="*/ 35 w 74"/>
                <a:gd name="T37" fmla="*/ 80 h 80"/>
                <a:gd name="T38" fmla="*/ 35 w 74"/>
                <a:gd name="T39" fmla="*/ 80 h 80"/>
                <a:gd name="T40" fmla="*/ 74 w 74"/>
                <a:gd name="T41" fmla="*/ 68 h 80"/>
                <a:gd name="T42" fmla="*/ 74 w 74"/>
                <a:gd name="T43" fmla="*/ 65 h 80"/>
                <a:gd name="T44" fmla="*/ 60 w 74"/>
                <a:gd name="T45" fmla="*/ 51 h 80"/>
                <a:gd name="T46" fmla="*/ 18 w 74"/>
                <a:gd name="T47" fmla="*/ 21 h 80"/>
                <a:gd name="T48" fmla="*/ 31 w 74"/>
                <a:gd name="T49" fmla="*/ 9 h 80"/>
                <a:gd name="T50" fmla="*/ 43 w 74"/>
                <a:gd name="T51" fmla="*/ 21 h 80"/>
                <a:gd name="T52" fmla="*/ 31 w 74"/>
                <a:gd name="T53" fmla="*/ 33 h 80"/>
                <a:gd name="T54" fmla="*/ 18 w 74"/>
                <a:gd name="T55" fmla="*/ 2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4" h="80">
                  <a:moveTo>
                    <a:pt x="60" y="51"/>
                  </a:moveTo>
                  <a:cubicBezTo>
                    <a:pt x="53" y="47"/>
                    <a:pt x="45" y="43"/>
                    <a:pt x="42" y="43"/>
                  </a:cubicBezTo>
                  <a:cubicBezTo>
                    <a:pt x="40" y="42"/>
                    <a:pt x="38" y="42"/>
                    <a:pt x="33" y="42"/>
                  </a:cubicBezTo>
                  <a:cubicBezTo>
                    <a:pt x="43" y="40"/>
                    <a:pt x="51" y="32"/>
                    <a:pt x="51" y="21"/>
                  </a:cubicBezTo>
                  <a:cubicBezTo>
                    <a:pt x="51" y="10"/>
                    <a:pt x="42" y="0"/>
                    <a:pt x="31" y="0"/>
                  </a:cubicBezTo>
                  <a:cubicBezTo>
                    <a:pt x="19" y="0"/>
                    <a:pt x="10" y="10"/>
                    <a:pt x="10" y="21"/>
                  </a:cubicBezTo>
                  <a:cubicBezTo>
                    <a:pt x="10" y="32"/>
                    <a:pt x="18" y="41"/>
                    <a:pt x="28" y="42"/>
                  </a:cubicBezTo>
                  <a:cubicBezTo>
                    <a:pt x="26" y="42"/>
                    <a:pt x="23" y="42"/>
                    <a:pt x="20" y="43"/>
                  </a:cubicBezTo>
                  <a:cubicBezTo>
                    <a:pt x="17" y="43"/>
                    <a:pt x="10" y="46"/>
                    <a:pt x="2" y="50"/>
                  </a:cubicBezTo>
                  <a:cubicBezTo>
                    <a:pt x="0" y="51"/>
                    <a:pt x="0" y="54"/>
                    <a:pt x="1" y="56"/>
                  </a:cubicBezTo>
                  <a:cubicBezTo>
                    <a:pt x="2" y="58"/>
                    <a:pt x="5" y="59"/>
                    <a:pt x="7" y="57"/>
                  </a:cubicBezTo>
                  <a:cubicBezTo>
                    <a:pt x="13" y="54"/>
                    <a:pt x="19" y="51"/>
                    <a:pt x="21" y="51"/>
                  </a:cubicBezTo>
                  <a:cubicBezTo>
                    <a:pt x="33" y="49"/>
                    <a:pt x="39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2" y="51"/>
                    <a:pt x="49" y="54"/>
                    <a:pt x="56" y="58"/>
                  </a:cubicBezTo>
                  <a:cubicBezTo>
                    <a:pt x="61" y="61"/>
                    <a:pt x="64" y="64"/>
                    <a:pt x="65" y="66"/>
                  </a:cubicBezTo>
                  <a:cubicBezTo>
                    <a:pt x="62" y="67"/>
                    <a:pt x="55" y="71"/>
                    <a:pt x="35" y="71"/>
                  </a:cubicBezTo>
                  <a:cubicBezTo>
                    <a:pt x="32" y="71"/>
                    <a:pt x="31" y="73"/>
                    <a:pt x="31" y="76"/>
                  </a:cubicBezTo>
                  <a:cubicBezTo>
                    <a:pt x="31" y="78"/>
                    <a:pt x="32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68" y="79"/>
                    <a:pt x="73" y="70"/>
                    <a:pt x="74" y="68"/>
                  </a:cubicBezTo>
                  <a:cubicBezTo>
                    <a:pt x="74" y="67"/>
                    <a:pt x="74" y="66"/>
                    <a:pt x="74" y="65"/>
                  </a:cubicBezTo>
                  <a:cubicBezTo>
                    <a:pt x="72" y="60"/>
                    <a:pt x="68" y="55"/>
                    <a:pt x="60" y="51"/>
                  </a:cubicBezTo>
                  <a:close/>
                  <a:moveTo>
                    <a:pt x="18" y="21"/>
                  </a:moveTo>
                  <a:cubicBezTo>
                    <a:pt x="18" y="14"/>
                    <a:pt x="24" y="9"/>
                    <a:pt x="31" y="9"/>
                  </a:cubicBezTo>
                  <a:cubicBezTo>
                    <a:pt x="37" y="9"/>
                    <a:pt x="43" y="14"/>
                    <a:pt x="43" y="21"/>
                  </a:cubicBezTo>
                  <a:cubicBezTo>
                    <a:pt x="43" y="28"/>
                    <a:pt x="37" y="33"/>
                    <a:pt x="31" y="33"/>
                  </a:cubicBezTo>
                  <a:cubicBezTo>
                    <a:pt x="24" y="33"/>
                    <a:pt x="18" y="28"/>
                    <a:pt x="18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797" tIns="45899" rIns="91797" bIns="45899" numCol="1" anchor="t" anchorCtr="0" compatLnSpc="1"/>
            <a:lstStyle/>
            <a:p>
              <a:endParaRPr lang="zh-CN" altLang="en-US" sz="1805">
                <a:solidFill>
                  <a:prstClr val="black"/>
                </a:solidFill>
              </a:endParaRPr>
            </a:p>
          </p:txBody>
        </p:sp>
      </p:grpSp>
      <p:grpSp>
        <p:nvGrpSpPr>
          <p:cNvPr id="54" name="组合 53"/>
          <p:cNvGrpSpPr/>
          <p:nvPr userDrawn="1"/>
        </p:nvGrpSpPr>
        <p:grpSpPr>
          <a:xfrm>
            <a:off x="6325263" y="2811033"/>
            <a:ext cx="1762683" cy="1762683"/>
            <a:chOff x="7254587" y="2605210"/>
            <a:chExt cx="1376915" cy="1376915"/>
          </a:xfrm>
        </p:grpSpPr>
        <p:sp>
          <p:nvSpPr>
            <p:cNvPr id="55" name="矩形 54"/>
            <p:cNvSpPr/>
            <p:nvPr/>
          </p:nvSpPr>
          <p:spPr>
            <a:xfrm>
              <a:off x="7254587" y="2605210"/>
              <a:ext cx="1376915" cy="1376915"/>
            </a:xfrm>
            <a:prstGeom prst="rect">
              <a:avLst/>
            </a:prstGeom>
            <a:solidFill>
              <a:srgbClr val="A1A1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grpSp>
          <p:nvGrpSpPr>
            <p:cNvPr id="56" name="组合 55"/>
            <p:cNvGrpSpPr/>
            <p:nvPr/>
          </p:nvGrpSpPr>
          <p:grpSpPr>
            <a:xfrm>
              <a:off x="7254587" y="2789568"/>
              <a:ext cx="1090344" cy="1010387"/>
              <a:chOff x="7255368" y="2789568"/>
              <a:chExt cx="1090344" cy="1010387"/>
            </a:xfrm>
          </p:grpSpPr>
          <p:sp>
            <p:nvSpPr>
              <p:cNvPr id="57" name="Freeform 11"/>
              <p:cNvSpPr/>
              <p:nvPr/>
            </p:nvSpPr>
            <p:spPr bwMode="auto">
              <a:xfrm>
                <a:off x="7255368" y="3547358"/>
                <a:ext cx="556074" cy="67239"/>
              </a:xfrm>
              <a:custGeom>
                <a:avLst/>
                <a:gdLst>
                  <a:gd name="T0" fmla="*/ 75 w 75"/>
                  <a:gd name="T1" fmla="*/ 9 h 9"/>
                  <a:gd name="T2" fmla="*/ 75 w 75"/>
                  <a:gd name="T3" fmla="*/ 1 h 9"/>
                  <a:gd name="T4" fmla="*/ 7 w 75"/>
                  <a:gd name="T5" fmla="*/ 1 h 9"/>
                  <a:gd name="T6" fmla="*/ 0 w 75"/>
                  <a:gd name="T7" fmla="*/ 0 h 9"/>
                  <a:gd name="T8" fmla="*/ 0 w 75"/>
                  <a:gd name="T9" fmla="*/ 7 h 9"/>
                  <a:gd name="T10" fmla="*/ 7 w 75"/>
                  <a:gd name="T11" fmla="*/ 9 h 9"/>
                  <a:gd name="T12" fmla="*/ 75 w 75"/>
                  <a:gd name="T1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5" h="9">
                    <a:moveTo>
                      <a:pt x="75" y="9"/>
                    </a:moveTo>
                    <a:cubicBezTo>
                      <a:pt x="75" y="1"/>
                      <a:pt x="75" y="1"/>
                      <a:pt x="75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4" y="1"/>
                      <a:pt x="2" y="1"/>
                      <a:pt x="0" y="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8"/>
                      <a:pt x="4" y="9"/>
                      <a:pt x="7" y="9"/>
                    </a:cubicBezTo>
                    <a:lnTo>
                      <a:pt x="75" y="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Freeform 12"/>
              <p:cNvSpPr>
                <a:spLocks noEditPoints="1"/>
              </p:cNvSpPr>
              <p:nvPr/>
            </p:nvSpPr>
            <p:spPr bwMode="auto">
              <a:xfrm>
                <a:off x="7582471" y="3027628"/>
                <a:ext cx="318017" cy="356178"/>
              </a:xfrm>
              <a:custGeom>
                <a:avLst/>
                <a:gdLst>
                  <a:gd name="T0" fmla="*/ 43 w 43"/>
                  <a:gd name="T1" fmla="*/ 23 h 48"/>
                  <a:gd name="T2" fmla="*/ 43 w 43"/>
                  <a:gd name="T3" fmla="*/ 22 h 48"/>
                  <a:gd name="T4" fmla="*/ 43 w 43"/>
                  <a:gd name="T5" fmla="*/ 22 h 48"/>
                  <a:gd name="T6" fmla="*/ 42 w 43"/>
                  <a:gd name="T7" fmla="*/ 22 h 48"/>
                  <a:gd name="T8" fmla="*/ 42 w 43"/>
                  <a:gd name="T9" fmla="*/ 21 h 48"/>
                  <a:gd name="T10" fmla="*/ 42 w 43"/>
                  <a:gd name="T11" fmla="*/ 21 h 48"/>
                  <a:gd name="T12" fmla="*/ 5 w 43"/>
                  <a:gd name="T13" fmla="*/ 0 h 48"/>
                  <a:gd name="T14" fmla="*/ 5 w 43"/>
                  <a:gd name="T15" fmla="*/ 0 h 48"/>
                  <a:gd name="T16" fmla="*/ 4 w 43"/>
                  <a:gd name="T17" fmla="*/ 0 h 48"/>
                  <a:gd name="T18" fmla="*/ 3 w 43"/>
                  <a:gd name="T19" fmla="*/ 0 h 48"/>
                  <a:gd name="T20" fmla="*/ 3 w 43"/>
                  <a:gd name="T21" fmla="*/ 0 h 48"/>
                  <a:gd name="T22" fmla="*/ 3 w 43"/>
                  <a:gd name="T23" fmla="*/ 0 h 48"/>
                  <a:gd name="T24" fmla="*/ 2 w 43"/>
                  <a:gd name="T25" fmla="*/ 0 h 48"/>
                  <a:gd name="T26" fmla="*/ 1 w 43"/>
                  <a:gd name="T27" fmla="*/ 0 h 48"/>
                  <a:gd name="T28" fmla="*/ 1 w 43"/>
                  <a:gd name="T29" fmla="*/ 1 h 48"/>
                  <a:gd name="T30" fmla="*/ 0 w 43"/>
                  <a:gd name="T31" fmla="*/ 1 h 48"/>
                  <a:gd name="T32" fmla="*/ 0 w 43"/>
                  <a:gd name="T33" fmla="*/ 2 h 48"/>
                  <a:gd name="T34" fmla="*/ 0 w 43"/>
                  <a:gd name="T35" fmla="*/ 2 h 48"/>
                  <a:gd name="T36" fmla="*/ 0 w 43"/>
                  <a:gd name="T37" fmla="*/ 2 h 48"/>
                  <a:gd name="T38" fmla="*/ 0 w 43"/>
                  <a:gd name="T39" fmla="*/ 3 h 48"/>
                  <a:gd name="T40" fmla="*/ 0 w 43"/>
                  <a:gd name="T41" fmla="*/ 3 h 48"/>
                  <a:gd name="T42" fmla="*/ 0 w 43"/>
                  <a:gd name="T43" fmla="*/ 45 h 48"/>
                  <a:gd name="T44" fmla="*/ 0 w 43"/>
                  <a:gd name="T45" fmla="*/ 45 h 48"/>
                  <a:gd name="T46" fmla="*/ 0 w 43"/>
                  <a:gd name="T47" fmla="*/ 46 h 48"/>
                  <a:gd name="T48" fmla="*/ 0 w 43"/>
                  <a:gd name="T49" fmla="*/ 46 h 48"/>
                  <a:gd name="T50" fmla="*/ 0 w 43"/>
                  <a:gd name="T51" fmla="*/ 47 h 48"/>
                  <a:gd name="T52" fmla="*/ 2 w 43"/>
                  <a:gd name="T53" fmla="*/ 48 h 48"/>
                  <a:gd name="T54" fmla="*/ 2 w 43"/>
                  <a:gd name="T55" fmla="*/ 48 h 48"/>
                  <a:gd name="T56" fmla="*/ 3 w 43"/>
                  <a:gd name="T57" fmla="*/ 48 h 48"/>
                  <a:gd name="T58" fmla="*/ 3 w 43"/>
                  <a:gd name="T59" fmla="*/ 48 h 48"/>
                  <a:gd name="T60" fmla="*/ 3 w 43"/>
                  <a:gd name="T61" fmla="*/ 48 h 48"/>
                  <a:gd name="T62" fmla="*/ 3 w 43"/>
                  <a:gd name="T63" fmla="*/ 48 h 48"/>
                  <a:gd name="T64" fmla="*/ 4 w 43"/>
                  <a:gd name="T65" fmla="*/ 48 h 48"/>
                  <a:gd name="T66" fmla="*/ 5 w 43"/>
                  <a:gd name="T67" fmla="*/ 48 h 48"/>
                  <a:gd name="T68" fmla="*/ 5 w 43"/>
                  <a:gd name="T69" fmla="*/ 48 h 48"/>
                  <a:gd name="T70" fmla="*/ 42 w 43"/>
                  <a:gd name="T71" fmla="*/ 27 h 48"/>
                  <a:gd name="T72" fmla="*/ 42 w 43"/>
                  <a:gd name="T73" fmla="*/ 27 h 48"/>
                  <a:gd name="T74" fmla="*/ 43 w 43"/>
                  <a:gd name="T75" fmla="*/ 26 h 48"/>
                  <a:gd name="T76" fmla="*/ 43 w 43"/>
                  <a:gd name="T77" fmla="*/ 26 h 48"/>
                  <a:gd name="T78" fmla="*/ 43 w 43"/>
                  <a:gd name="T79" fmla="*/ 26 h 48"/>
                  <a:gd name="T80" fmla="*/ 43 w 43"/>
                  <a:gd name="T81" fmla="*/ 25 h 48"/>
                  <a:gd name="T82" fmla="*/ 43 w 43"/>
                  <a:gd name="T83" fmla="*/ 25 h 48"/>
                  <a:gd name="T84" fmla="*/ 43 w 43"/>
                  <a:gd name="T85" fmla="*/ 24 h 48"/>
                  <a:gd name="T86" fmla="*/ 43 w 43"/>
                  <a:gd name="T87" fmla="*/ 23 h 48"/>
                  <a:gd name="T88" fmla="*/ 43 w 43"/>
                  <a:gd name="T89" fmla="*/ 23 h 48"/>
                  <a:gd name="T90" fmla="*/ 7 w 43"/>
                  <a:gd name="T91" fmla="*/ 39 h 48"/>
                  <a:gd name="T92" fmla="*/ 7 w 43"/>
                  <a:gd name="T93" fmla="*/ 9 h 48"/>
                  <a:gd name="T94" fmla="*/ 33 w 43"/>
                  <a:gd name="T95" fmla="*/ 24 h 48"/>
                  <a:gd name="T96" fmla="*/ 7 w 43"/>
                  <a:gd name="T97" fmla="*/ 39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3" h="48">
                    <a:moveTo>
                      <a:pt x="43" y="23"/>
                    </a:moveTo>
                    <a:cubicBezTo>
                      <a:pt x="43" y="23"/>
                      <a:pt x="43" y="22"/>
                      <a:pt x="43" y="22"/>
                    </a:cubicBezTo>
                    <a:cubicBezTo>
                      <a:pt x="43" y="22"/>
                      <a:pt x="43" y="22"/>
                      <a:pt x="43" y="22"/>
                    </a:cubicBezTo>
                    <a:cubicBezTo>
                      <a:pt x="43" y="22"/>
                      <a:pt x="43" y="22"/>
                      <a:pt x="42" y="22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6"/>
                      <a:pt x="0" y="46"/>
                      <a:pt x="0" y="47"/>
                    </a:cubicBezTo>
                    <a:cubicBezTo>
                      <a:pt x="1" y="47"/>
                      <a:pt x="1" y="48"/>
                      <a:pt x="2" y="48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2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2" y="27"/>
                      <a:pt x="43" y="26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6"/>
                      <a:pt x="43" y="26"/>
                      <a:pt x="43" y="25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3" y="24"/>
                      <a:pt x="43" y="24"/>
                      <a:pt x="43" y="23"/>
                    </a:cubicBezTo>
                    <a:cubicBezTo>
                      <a:pt x="43" y="23"/>
                      <a:pt x="43" y="23"/>
                      <a:pt x="43" y="23"/>
                    </a:cubicBezTo>
                    <a:close/>
                    <a:moveTo>
                      <a:pt x="7" y="39"/>
                    </a:moveTo>
                    <a:cubicBezTo>
                      <a:pt x="7" y="9"/>
                      <a:pt x="7" y="9"/>
                      <a:pt x="7" y="9"/>
                    </a:cubicBezTo>
                    <a:cubicBezTo>
                      <a:pt x="33" y="24"/>
                      <a:pt x="33" y="24"/>
                      <a:pt x="33" y="24"/>
                    </a:cubicBezTo>
                    <a:lnTo>
                      <a:pt x="7" y="3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 13"/>
              <p:cNvSpPr/>
              <p:nvPr/>
            </p:nvSpPr>
            <p:spPr bwMode="auto">
              <a:xfrm>
                <a:off x="7277177" y="3739985"/>
                <a:ext cx="928609" cy="59970"/>
              </a:xfrm>
              <a:custGeom>
                <a:avLst/>
                <a:gdLst>
                  <a:gd name="T0" fmla="*/ 121 w 125"/>
                  <a:gd name="T1" fmla="*/ 0 h 8"/>
                  <a:gd name="T2" fmla="*/ 4 w 125"/>
                  <a:gd name="T3" fmla="*/ 0 h 8"/>
                  <a:gd name="T4" fmla="*/ 0 w 125"/>
                  <a:gd name="T5" fmla="*/ 4 h 8"/>
                  <a:gd name="T6" fmla="*/ 4 w 125"/>
                  <a:gd name="T7" fmla="*/ 8 h 8"/>
                  <a:gd name="T8" fmla="*/ 121 w 125"/>
                  <a:gd name="T9" fmla="*/ 8 h 8"/>
                  <a:gd name="T10" fmla="*/ 125 w 125"/>
                  <a:gd name="T11" fmla="*/ 4 h 8"/>
                  <a:gd name="T12" fmla="*/ 121 w 125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5" h="8">
                    <a:moveTo>
                      <a:pt x="121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1" y="8"/>
                      <a:pt x="121" y="8"/>
                      <a:pt x="121" y="8"/>
                    </a:cubicBezTo>
                    <a:cubicBezTo>
                      <a:pt x="123" y="8"/>
                      <a:pt x="125" y="6"/>
                      <a:pt x="125" y="4"/>
                    </a:cubicBezTo>
                    <a:cubicBezTo>
                      <a:pt x="125" y="2"/>
                      <a:pt x="123" y="0"/>
                      <a:pt x="12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Freeform 14"/>
              <p:cNvSpPr/>
              <p:nvPr/>
            </p:nvSpPr>
            <p:spPr bwMode="auto">
              <a:xfrm>
                <a:off x="7864145" y="3501926"/>
                <a:ext cx="154466" cy="163552"/>
              </a:xfrm>
              <a:custGeom>
                <a:avLst/>
                <a:gdLst>
                  <a:gd name="T0" fmla="*/ 28 w 85"/>
                  <a:gd name="T1" fmla="*/ 0 h 90"/>
                  <a:gd name="T2" fmla="*/ 28 w 85"/>
                  <a:gd name="T3" fmla="*/ 29 h 90"/>
                  <a:gd name="T4" fmla="*/ 0 w 85"/>
                  <a:gd name="T5" fmla="*/ 29 h 90"/>
                  <a:gd name="T6" fmla="*/ 0 w 85"/>
                  <a:gd name="T7" fmla="*/ 29 h 90"/>
                  <a:gd name="T8" fmla="*/ 0 w 85"/>
                  <a:gd name="T9" fmla="*/ 58 h 90"/>
                  <a:gd name="T10" fmla="*/ 0 w 85"/>
                  <a:gd name="T11" fmla="*/ 62 h 90"/>
                  <a:gd name="T12" fmla="*/ 28 w 85"/>
                  <a:gd name="T13" fmla="*/ 62 h 90"/>
                  <a:gd name="T14" fmla="*/ 28 w 85"/>
                  <a:gd name="T15" fmla="*/ 90 h 90"/>
                  <a:gd name="T16" fmla="*/ 57 w 85"/>
                  <a:gd name="T17" fmla="*/ 90 h 90"/>
                  <a:gd name="T18" fmla="*/ 57 w 85"/>
                  <a:gd name="T19" fmla="*/ 62 h 90"/>
                  <a:gd name="T20" fmla="*/ 85 w 85"/>
                  <a:gd name="T21" fmla="*/ 62 h 90"/>
                  <a:gd name="T22" fmla="*/ 85 w 85"/>
                  <a:gd name="T23" fmla="*/ 58 h 90"/>
                  <a:gd name="T24" fmla="*/ 85 w 85"/>
                  <a:gd name="T25" fmla="*/ 29 h 90"/>
                  <a:gd name="T26" fmla="*/ 85 w 85"/>
                  <a:gd name="T27" fmla="*/ 29 h 90"/>
                  <a:gd name="T28" fmla="*/ 57 w 85"/>
                  <a:gd name="T29" fmla="*/ 29 h 90"/>
                  <a:gd name="T30" fmla="*/ 57 w 85"/>
                  <a:gd name="T31" fmla="*/ 0 h 90"/>
                  <a:gd name="T32" fmla="*/ 28 w 85"/>
                  <a:gd name="T33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5" h="90">
                    <a:moveTo>
                      <a:pt x="28" y="0"/>
                    </a:moveTo>
                    <a:lnTo>
                      <a:pt x="28" y="29"/>
                    </a:lnTo>
                    <a:lnTo>
                      <a:pt x="0" y="29"/>
                    </a:lnTo>
                    <a:lnTo>
                      <a:pt x="0" y="29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28" y="62"/>
                    </a:lnTo>
                    <a:lnTo>
                      <a:pt x="28" y="90"/>
                    </a:lnTo>
                    <a:lnTo>
                      <a:pt x="57" y="90"/>
                    </a:lnTo>
                    <a:lnTo>
                      <a:pt x="57" y="62"/>
                    </a:lnTo>
                    <a:lnTo>
                      <a:pt x="85" y="62"/>
                    </a:lnTo>
                    <a:lnTo>
                      <a:pt x="85" y="58"/>
                    </a:lnTo>
                    <a:lnTo>
                      <a:pt x="85" y="29"/>
                    </a:lnTo>
                    <a:lnTo>
                      <a:pt x="85" y="29"/>
                    </a:lnTo>
                    <a:lnTo>
                      <a:pt x="57" y="29"/>
                    </a:lnTo>
                    <a:lnTo>
                      <a:pt x="57" y="0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Freeform 15"/>
              <p:cNvSpPr/>
              <p:nvPr/>
            </p:nvSpPr>
            <p:spPr bwMode="auto">
              <a:xfrm>
                <a:off x="7255368" y="2789568"/>
                <a:ext cx="1090344" cy="825027"/>
              </a:xfrm>
              <a:custGeom>
                <a:avLst/>
                <a:gdLst>
                  <a:gd name="T0" fmla="*/ 125 w 147"/>
                  <a:gd name="T1" fmla="*/ 0 h 111"/>
                  <a:gd name="T2" fmla="*/ 125 w 147"/>
                  <a:gd name="T3" fmla="*/ 0 h 111"/>
                  <a:gd name="T4" fmla="*/ 7 w 147"/>
                  <a:gd name="T5" fmla="*/ 0 h 111"/>
                  <a:gd name="T6" fmla="*/ 0 w 147"/>
                  <a:gd name="T7" fmla="*/ 1 h 111"/>
                  <a:gd name="T8" fmla="*/ 0 w 147"/>
                  <a:gd name="T9" fmla="*/ 9 h 111"/>
                  <a:gd name="T10" fmla="*/ 7 w 147"/>
                  <a:gd name="T11" fmla="*/ 7 h 111"/>
                  <a:gd name="T12" fmla="*/ 124 w 147"/>
                  <a:gd name="T13" fmla="*/ 7 h 111"/>
                  <a:gd name="T14" fmla="*/ 140 w 147"/>
                  <a:gd name="T15" fmla="*/ 23 h 111"/>
                  <a:gd name="T16" fmla="*/ 140 w 147"/>
                  <a:gd name="T17" fmla="*/ 88 h 111"/>
                  <a:gd name="T18" fmla="*/ 124 w 147"/>
                  <a:gd name="T19" fmla="*/ 103 h 111"/>
                  <a:gd name="T20" fmla="*/ 111 w 147"/>
                  <a:gd name="T21" fmla="*/ 103 h 111"/>
                  <a:gd name="T22" fmla="*/ 111 w 147"/>
                  <a:gd name="T23" fmla="*/ 111 h 111"/>
                  <a:gd name="T24" fmla="*/ 125 w 147"/>
                  <a:gd name="T25" fmla="*/ 111 h 111"/>
                  <a:gd name="T26" fmla="*/ 125 w 147"/>
                  <a:gd name="T27" fmla="*/ 110 h 111"/>
                  <a:gd name="T28" fmla="*/ 147 w 147"/>
                  <a:gd name="T29" fmla="*/ 88 h 111"/>
                  <a:gd name="T30" fmla="*/ 147 w 147"/>
                  <a:gd name="T31" fmla="*/ 23 h 111"/>
                  <a:gd name="T32" fmla="*/ 125 w 147"/>
                  <a:gd name="T3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7" h="111">
                    <a:moveTo>
                      <a:pt x="125" y="0"/>
                    </a:moveTo>
                    <a:cubicBezTo>
                      <a:pt x="125" y="0"/>
                      <a:pt x="125" y="0"/>
                      <a:pt x="125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4" y="0"/>
                      <a:pt x="2" y="1"/>
                      <a:pt x="0" y="1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" y="8"/>
                      <a:pt x="4" y="7"/>
                      <a:pt x="7" y="7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33" y="7"/>
                      <a:pt x="140" y="14"/>
                      <a:pt x="140" y="23"/>
                    </a:cubicBezTo>
                    <a:cubicBezTo>
                      <a:pt x="140" y="88"/>
                      <a:pt x="140" y="88"/>
                      <a:pt x="140" y="88"/>
                    </a:cubicBezTo>
                    <a:cubicBezTo>
                      <a:pt x="140" y="96"/>
                      <a:pt x="133" y="103"/>
                      <a:pt x="124" y="103"/>
                    </a:cubicBezTo>
                    <a:cubicBezTo>
                      <a:pt x="111" y="103"/>
                      <a:pt x="111" y="103"/>
                      <a:pt x="111" y="103"/>
                    </a:cubicBezTo>
                    <a:cubicBezTo>
                      <a:pt x="111" y="111"/>
                      <a:pt x="111" y="111"/>
                      <a:pt x="111" y="111"/>
                    </a:cubicBezTo>
                    <a:cubicBezTo>
                      <a:pt x="125" y="111"/>
                      <a:pt x="125" y="111"/>
                      <a:pt x="125" y="111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37" y="110"/>
                      <a:pt x="147" y="100"/>
                      <a:pt x="147" y="88"/>
                    </a:cubicBezTo>
                    <a:cubicBezTo>
                      <a:pt x="147" y="23"/>
                      <a:pt x="147" y="23"/>
                      <a:pt x="147" y="23"/>
                    </a:cubicBezTo>
                    <a:cubicBezTo>
                      <a:pt x="147" y="11"/>
                      <a:pt x="137" y="1"/>
                      <a:pt x="12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2" name="组合 61"/>
          <p:cNvGrpSpPr/>
          <p:nvPr userDrawn="1"/>
        </p:nvGrpSpPr>
        <p:grpSpPr>
          <a:xfrm>
            <a:off x="756325" y="2805322"/>
            <a:ext cx="1762686" cy="1762683"/>
            <a:chOff x="1507108" y="2100648"/>
            <a:chExt cx="1627763" cy="1627761"/>
          </a:xfrm>
        </p:grpSpPr>
        <p:sp>
          <p:nvSpPr>
            <p:cNvPr id="63" name="矩形 62"/>
            <p:cNvSpPr/>
            <p:nvPr/>
          </p:nvSpPr>
          <p:spPr>
            <a:xfrm>
              <a:off x="1507110" y="2100648"/>
              <a:ext cx="1627761" cy="1627761"/>
            </a:xfrm>
            <a:prstGeom prst="rect">
              <a:avLst/>
            </a:prstGeom>
            <a:solidFill>
              <a:srgbClr val="005B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grpSp>
          <p:nvGrpSpPr>
            <p:cNvPr id="64" name="组合 63"/>
            <p:cNvGrpSpPr/>
            <p:nvPr/>
          </p:nvGrpSpPr>
          <p:grpSpPr>
            <a:xfrm>
              <a:off x="1507108" y="2201164"/>
              <a:ext cx="1384865" cy="1466956"/>
              <a:chOff x="1550988" y="1668463"/>
              <a:chExt cx="615950" cy="652462"/>
            </a:xfrm>
          </p:grpSpPr>
          <p:sp>
            <p:nvSpPr>
              <p:cNvPr id="65" name="Freeform 5"/>
              <p:cNvSpPr/>
              <p:nvPr/>
            </p:nvSpPr>
            <p:spPr bwMode="auto">
              <a:xfrm>
                <a:off x="1550988" y="1962150"/>
                <a:ext cx="585788" cy="358775"/>
              </a:xfrm>
              <a:custGeom>
                <a:avLst/>
                <a:gdLst>
                  <a:gd name="T0" fmla="*/ 62 w 153"/>
                  <a:gd name="T1" fmla="*/ 94 h 94"/>
                  <a:gd name="T2" fmla="*/ 69 w 153"/>
                  <a:gd name="T3" fmla="*/ 91 h 94"/>
                  <a:gd name="T4" fmla="*/ 139 w 153"/>
                  <a:gd name="T5" fmla="*/ 22 h 94"/>
                  <a:gd name="T6" fmla="*/ 153 w 153"/>
                  <a:gd name="T7" fmla="*/ 0 h 94"/>
                  <a:gd name="T8" fmla="*/ 145 w 153"/>
                  <a:gd name="T9" fmla="*/ 0 h 94"/>
                  <a:gd name="T10" fmla="*/ 134 w 153"/>
                  <a:gd name="T11" fmla="*/ 16 h 94"/>
                  <a:gd name="T12" fmla="*/ 64 w 153"/>
                  <a:gd name="T13" fmla="*/ 86 h 94"/>
                  <a:gd name="T14" fmla="*/ 62 w 153"/>
                  <a:gd name="T15" fmla="*/ 87 h 94"/>
                  <a:gd name="T16" fmla="*/ 59 w 153"/>
                  <a:gd name="T17" fmla="*/ 86 h 94"/>
                  <a:gd name="T18" fmla="*/ 0 w 153"/>
                  <a:gd name="T19" fmla="*/ 27 h 94"/>
                  <a:gd name="T20" fmla="*/ 0 w 153"/>
                  <a:gd name="T21" fmla="*/ 36 h 94"/>
                  <a:gd name="T22" fmla="*/ 54 w 153"/>
                  <a:gd name="T23" fmla="*/ 91 h 94"/>
                  <a:gd name="T24" fmla="*/ 62 w 153"/>
                  <a:gd name="T25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3" h="94">
                    <a:moveTo>
                      <a:pt x="62" y="94"/>
                    </a:moveTo>
                    <a:cubicBezTo>
                      <a:pt x="64" y="94"/>
                      <a:pt x="67" y="93"/>
                      <a:pt x="69" y="91"/>
                    </a:cubicBezTo>
                    <a:cubicBezTo>
                      <a:pt x="139" y="22"/>
                      <a:pt x="139" y="22"/>
                      <a:pt x="139" y="22"/>
                    </a:cubicBezTo>
                    <a:cubicBezTo>
                      <a:pt x="145" y="15"/>
                      <a:pt x="150" y="8"/>
                      <a:pt x="153" y="0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42" y="6"/>
                      <a:pt x="139" y="12"/>
                      <a:pt x="134" y="16"/>
                    </a:cubicBezTo>
                    <a:cubicBezTo>
                      <a:pt x="64" y="86"/>
                      <a:pt x="64" y="86"/>
                      <a:pt x="64" y="86"/>
                    </a:cubicBezTo>
                    <a:cubicBezTo>
                      <a:pt x="63" y="87"/>
                      <a:pt x="62" y="87"/>
                      <a:pt x="62" y="87"/>
                    </a:cubicBezTo>
                    <a:cubicBezTo>
                      <a:pt x="61" y="87"/>
                      <a:pt x="60" y="87"/>
                      <a:pt x="59" y="8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54" y="91"/>
                      <a:pt x="54" y="91"/>
                      <a:pt x="54" y="91"/>
                    </a:cubicBezTo>
                    <a:cubicBezTo>
                      <a:pt x="56" y="93"/>
                      <a:pt x="59" y="94"/>
                      <a:pt x="62" y="9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6"/>
              <p:cNvSpPr/>
              <p:nvPr/>
            </p:nvSpPr>
            <p:spPr bwMode="auto">
              <a:xfrm>
                <a:off x="1550988" y="1668463"/>
                <a:ext cx="588963" cy="160337"/>
              </a:xfrm>
              <a:custGeom>
                <a:avLst/>
                <a:gdLst>
                  <a:gd name="T0" fmla="*/ 139 w 154"/>
                  <a:gd name="T1" fmla="*/ 18 h 42"/>
                  <a:gd name="T2" fmla="*/ 114 w 154"/>
                  <a:gd name="T3" fmla="*/ 3 h 42"/>
                  <a:gd name="T4" fmla="*/ 83 w 154"/>
                  <a:gd name="T5" fmla="*/ 3 h 42"/>
                  <a:gd name="T6" fmla="*/ 62 w 154"/>
                  <a:gd name="T7" fmla="*/ 13 h 42"/>
                  <a:gd name="T8" fmla="*/ 40 w 154"/>
                  <a:gd name="T9" fmla="*/ 3 h 42"/>
                  <a:gd name="T10" fmla="*/ 9 w 154"/>
                  <a:gd name="T11" fmla="*/ 3 h 42"/>
                  <a:gd name="T12" fmla="*/ 0 w 154"/>
                  <a:gd name="T13" fmla="*/ 7 h 42"/>
                  <a:gd name="T14" fmla="*/ 0 w 154"/>
                  <a:gd name="T15" fmla="*/ 15 h 42"/>
                  <a:gd name="T16" fmla="*/ 11 w 154"/>
                  <a:gd name="T17" fmla="*/ 10 h 42"/>
                  <a:gd name="T18" fmla="*/ 26 w 154"/>
                  <a:gd name="T19" fmla="*/ 8 h 42"/>
                  <a:gd name="T20" fmla="*/ 38 w 154"/>
                  <a:gd name="T21" fmla="*/ 9 h 42"/>
                  <a:gd name="T22" fmla="*/ 59 w 154"/>
                  <a:gd name="T23" fmla="*/ 21 h 42"/>
                  <a:gd name="T24" fmla="*/ 62 w 154"/>
                  <a:gd name="T25" fmla="*/ 22 h 42"/>
                  <a:gd name="T26" fmla="*/ 64 w 154"/>
                  <a:gd name="T27" fmla="*/ 21 h 42"/>
                  <a:gd name="T28" fmla="*/ 85 w 154"/>
                  <a:gd name="T29" fmla="*/ 9 h 42"/>
                  <a:gd name="T30" fmla="*/ 112 w 154"/>
                  <a:gd name="T31" fmla="*/ 10 h 42"/>
                  <a:gd name="T32" fmla="*/ 134 w 154"/>
                  <a:gd name="T33" fmla="*/ 23 h 42"/>
                  <a:gd name="T34" fmla="*/ 146 w 154"/>
                  <a:gd name="T35" fmla="*/ 42 h 42"/>
                  <a:gd name="T36" fmla="*/ 154 w 154"/>
                  <a:gd name="T37" fmla="*/ 42 h 42"/>
                  <a:gd name="T38" fmla="*/ 153 w 154"/>
                  <a:gd name="T39" fmla="*/ 42 h 42"/>
                  <a:gd name="T40" fmla="*/ 139 w 154"/>
                  <a:gd name="T41" fmla="*/ 18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4" h="42">
                    <a:moveTo>
                      <a:pt x="139" y="18"/>
                    </a:moveTo>
                    <a:cubicBezTo>
                      <a:pt x="132" y="11"/>
                      <a:pt x="123" y="6"/>
                      <a:pt x="114" y="3"/>
                    </a:cubicBezTo>
                    <a:cubicBezTo>
                      <a:pt x="104" y="0"/>
                      <a:pt x="94" y="0"/>
                      <a:pt x="83" y="3"/>
                    </a:cubicBezTo>
                    <a:cubicBezTo>
                      <a:pt x="76" y="5"/>
                      <a:pt x="68" y="8"/>
                      <a:pt x="62" y="13"/>
                    </a:cubicBezTo>
                    <a:cubicBezTo>
                      <a:pt x="55" y="8"/>
                      <a:pt x="48" y="5"/>
                      <a:pt x="40" y="3"/>
                    </a:cubicBezTo>
                    <a:cubicBezTo>
                      <a:pt x="29" y="0"/>
                      <a:pt x="19" y="0"/>
                      <a:pt x="9" y="3"/>
                    </a:cubicBezTo>
                    <a:cubicBezTo>
                      <a:pt x="6" y="4"/>
                      <a:pt x="3" y="6"/>
                      <a:pt x="0" y="7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3"/>
                      <a:pt x="7" y="11"/>
                      <a:pt x="11" y="10"/>
                    </a:cubicBezTo>
                    <a:cubicBezTo>
                      <a:pt x="16" y="9"/>
                      <a:pt x="21" y="8"/>
                      <a:pt x="26" y="8"/>
                    </a:cubicBezTo>
                    <a:cubicBezTo>
                      <a:pt x="30" y="8"/>
                      <a:pt x="34" y="8"/>
                      <a:pt x="38" y="9"/>
                    </a:cubicBezTo>
                    <a:cubicBezTo>
                      <a:pt x="46" y="11"/>
                      <a:pt x="53" y="15"/>
                      <a:pt x="59" y="21"/>
                    </a:cubicBezTo>
                    <a:cubicBezTo>
                      <a:pt x="62" y="22"/>
                      <a:pt x="62" y="22"/>
                      <a:pt x="62" y="22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70" y="15"/>
                      <a:pt x="78" y="11"/>
                      <a:pt x="85" y="9"/>
                    </a:cubicBezTo>
                    <a:cubicBezTo>
                      <a:pt x="94" y="7"/>
                      <a:pt x="103" y="7"/>
                      <a:pt x="112" y="10"/>
                    </a:cubicBezTo>
                    <a:cubicBezTo>
                      <a:pt x="120" y="13"/>
                      <a:pt x="128" y="17"/>
                      <a:pt x="134" y="23"/>
                    </a:cubicBezTo>
                    <a:cubicBezTo>
                      <a:pt x="139" y="28"/>
                      <a:pt x="143" y="35"/>
                      <a:pt x="146" y="42"/>
                    </a:cubicBezTo>
                    <a:cubicBezTo>
                      <a:pt x="154" y="42"/>
                      <a:pt x="154" y="42"/>
                      <a:pt x="154" y="42"/>
                    </a:cubicBezTo>
                    <a:cubicBezTo>
                      <a:pt x="153" y="42"/>
                      <a:pt x="153" y="42"/>
                      <a:pt x="153" y="42"/>
                    </a:cubicBezTo>
                    <a:cubicBezTo>
                      <a:pt x="150" y="33"/>
                      <a:pt x="145" y="25"/>
                      <a:pt x="139" y="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7"/>
              <p:cNvSpPr/>
              <p:nvPr/>
            </p:nvSpPr>
            <p:spPr bwMode="auto">
              <a:xfrm>
                <a:off x="2087563" y="1855788"/>
                <a:ext cx="79375" cy="79375"/>
              </a:xfrm>
              <a:custGeom>
                <a:avLst/>
                <a:gdLst>
                  <a:gd name="T0" fmla="*/ 50 w 50"/>
                  <a:gd name="T1" fmla="*/ 17 h 50"/>
                  <a:gd name="T2" fmla="*/ 33 w 50"/>
                  <a:gd name="T3" fmla="*/ 17 h 50"/>
                  <a:gd name="T4" fmla="*/ 33 w 50"/>
                  <a:gd name="T5" fmla="*/ 0 h 50"/>
                  <a:gd name="T6" fmla="*/ 16 w 50"/>
                  <a:gd name="T7" fmla="*/ 0 h 50"/>
                  <a:gd name="T8" fmla="*/ 16 w 50"/>
                  <a:gd name="T9" fmla="*/ 17 h 50"/>
                  <a:gd name="T10" fmla="*/ 0 w 50"/>
                  <a:gd name="T11" fmla="*/ 17 h 50"/>
                  <a:gd name="T12" fmla="*/ 0 w 50"/>
                  <a:gd name="T13" fmla="*/ 33 h 50"/>
                  <a:gd name="T14" fmla="*/ 16 w 50"/>
                  <a:gd name="T15" fmla="*/ 33 h 50"/>
                  <a:gd name="T16" fmla="*/ 16 w 50"/>
                  <a:gd name="T17" fmla="*/ 50 h 50"/>
                  <a:gd name="T18" fmla="*/ 33 w 50"/>
                  <a:gd name="T19" fmla="*/ 50 h 50"/>
                  <a:gd name="T20" fmla="*/ 33 w 50"/>
                  <a:gd name="T21" fmla="*/ 33 h 50"/>
                  <a:gd name="T22" fmla="*/ 50 w 50"/>
                  <a:gd name="T23" fmla="*/ 33 h 50"/>
                  <a:gd name="T24" fmla="*/ 50 w 50"/>
                  <a:gd name="T25" fmla="*/ 1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50">
                    <a:moveTo>
                      <a:pt x="50" y="17"/>
                    </a:moveTo>
                    <a:lnTo>
                      <a:pt x="33" y="17"/>
                    </a:lnTo>
                    <a:lnTo>
                      <a:pt x="33" y="0"/>
                    </a:lnTo>
                    <a:lnTo>
                      <a:pt x="16" y="0"/>
                    </a:lnTo>
                    <a:lnTo>
                      <a:pt x="16" y="17"/>
                    </a:lnTo>
                    <a:lnTo>
                      <a:pt x="0" y="17"/>
                    </a:lnTo>
                    <a:lnTo>
                      <a:pt x="0" y="33"/>
                    </a:lnTo>
                    <a:lnTo>
                      <a:pt x="16" y="33"/>
                    </a:lnTo>
                    <a:lnTo>
                      <a:pt x="16" y="50"/>
                    </a:lnTo>
                    <a:lnTo>
                      <a:pt x="33" y="50"/>
                    </a:lnTo>
                    <a:lnTo>
                      <a:pt x="33" y="33"/>
                    </a:lnTo>
                    <a:lnTo>
                      <a:pt x="50" y="33"/>
                    </a:lnTo>
                    <a:lnTo>
                      <a:pt x="50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797" tIns="45899" rIns="91797" bIns="45899" numCol="1" anchor="t" anchorCtr="0" compatLnSpc="1"/>
              <a:lstStyle/>
              <a:p>
                <a:endParaRPr lang="zh-CN" altLang="en-US" sz="1805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8" name="组合 67"/>
          <p:cNvGrpSpPr/>
          <p:nvPr userDrawn="1"/>
        </p:nvGrpSpPr>
        <p:grpSpPr>
          <a:xfrm>
            <a:off x="3540794" y="2805322"/>
            <a:ext cx="1762686" cy="1762683"/>
            <a:chOff x="4146320" y="2100648"/>
            <a:chExt cx="1627764" cy="1627761"/>
          </a:xfrm>
        </p:grpSpPr>
        <p:sp>
          <p:nvSpPr>
            <p:cNvPr id="69" name="矩形 68"/>
            <p:cNvSpPr/>
            <p:nvPr/>
          </p:nvSpPr>
          <p:spPr>
            <a:xfrm>
              <a:off x="4146323" y="2100648"/>
              <a:ext cx="1627761" cy="1627761"/>
            </a:xfrm>
            <a:prstGeom prst="rect">
              <a:avLst/>
            </a:prstGeom>
            <a:solidFill>
              <a:srgbClr val="1737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5">
                <a:solidFill>
                  <a:prstClr val="white"/>
                </a:solidFill>
              </a:endParaRPr>
            </a:p>
          </p:txBody>
        </p:sp>
        <p:pic>
          <p:nvPicPr>
            <p:cNvPr id="70" name="图片 69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146320" y="2201164"/>
              <a:ext cx="1472700" cy="1527245"/>
            </a:xfrm>
            <a:prstGeom prst="rect">
              <a:avLst/>
            </a:prstGeom>
          </p:spPr>
        </p:pic>
      </p:grpSp>
      <p:sp>
        <p:nvSpPr>
          <p:cNvPr id="75" name="文本占位符 11"/>
          <p:cNvSpPr>
            <a:spLocks noGrp="1"/>
          </p:cNvSpPr>
          <p:nvPr>
            <p:ph type="body" sz="quarter" idx="16" hasCustomPrompt="1"/>
          </p:nvPr>
        </p:nvSpPr>
        <p:spPr>
          <a:xfrm>
            <a:off x="888171" y="4808771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6" name="文本占位符 11"/>
          <p:cNvSpPr>
            <a:spLocks noGrp="1"/>
          </p:cNvSpPr>
          <p:nvPr>
            <p:ph type="body" sz="quarter" idx="17" hasCustomPrompt="1"/>
          </p:nvPr>
        </p:nvSpPr>
        <p:spPr>
          <a:xfrm>
            <a:off x="3677711" y="4808771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7" name="文本占位符 11"/>
          <p:cNvSpPr>
            <a:spLocks noGrp="1"/>
          </p:cNvSpPr>
          <p:nvPr>
            <p:ph type="body" sz="quarter" idx="18" hasCustomPrompt="1"/>
          </p:nvPr>
        </p:nvSpPr>
        <p:spPr>
          <a:xfrm>
            <a:off x="6453376" y="4808771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78" name="文本占位符 11"/>
          <p:cNvSpPr>
            <a:spLocks noGrp="1"/>
          </p:cNvSpPr>
          <p:nvPr>
            <p:ph type="body" sz="quarter" idx="19" hasCustomPrompt="1"/>
          </p:nvPr>
        </p:nvSpPr>
        <p:spPr>
          <a:xfrm>
            <a:off x="9242916" y="4819034"/>
            <a:ext cx="1496307" cy="12579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CN" altLang="en-US" sz="1400" kern="1200" baseline="0" dirty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正文 微软雅黑 </a:t>
            </a:r>
            <a:r>
              <a:rPr lang="en-US" altLang="zh-CN" sz="1400" dirty="0"/>
              <a:t>Verdana</a:t>
            </a:r>
            <a:r>
              <a:rPr lang="zh-CN" altLang="en-US" sz="1400" dirty="0"/>
              <a:t> </a:t>
            </a:r>
            <a:r>
              <a:rPr lang="en-US" altLang="zh-CN" sz="1400" dirty="0"/>
              <a:t>14pt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zh-CN" altLang="en-US" sz="1400" dirty="0"/>
              <a:t>此处正文位置</a:t>
            </a:r>
          </a:p>
        </p:txBody>
      </p:sp>
      <p:sp>
        <p:nvSpPr>
          <p:cNvPr id="38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32000"/>
            <a:ext cx="10210270" cy="10427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32pt </a:t>
            </a:r>
            <a:r>
              <a:rPr lang="zh-CN" altLang="en-US" dirty="0"/>
              <a:t>加粗</a:t>
            </a:r>
            <a:endParaRPr lang="en-US" altLang="zh-CN" dirty="0"/>
          </a:p>
          <a:p>
            <a:r>
              <a:rPr lang="zh-CN" altLang="en-US" dirty="0"/>
              <a:t> </a:t>
            </a:r>
          </a:p>
        </p:txBody>
      </p:sp>
      <p:sp>
        <p:nvSpPr>
          <p:cNvPr id="39" name="文本占位符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1764000"/>
            <a:ext cx="10210270" cy="8896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32323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r>
              <a:rPr lang="zh-CN" altLang="en-US" dirty="0"/>
              <a:t>正文 微软雅黑 </a:t>
            </a:r>
            <a:r>
              <a:rPr lang="en-US" altLang="zh-CN" dirty="0"/>
              <a:t>Verdana</a:t>
            </a:r>
            <a:r>
              <a:rPr lang="zh-CN" altLang="en-US" dirty="0"/>
              <a:t> </a:t>
            </a:r>
            <a:r>
              <a:rPr lang="en-US" altLang="zh-CN" dirty="0"/>
              <a:t>14pt</a:t>
            </a:r>
          </a:p>
          <a:p>
            <a:pPr lvl="0"/>
            <a:r>
              <a:rPr lang="zh-CN" altLang="en-US" dirty="0"/>
              <a:t>单击此处添加正文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52411189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图片 28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5286000" y="5759999"/>
            <a:ext cx="1620000" cy="526887"/>
          </a:xfrm>
          <a:prstGeom prst="rect">
            <a:avLst/>
          </a:prstGeom>
        </p:spPr>
      </p:pic>
      <p:grpSp>
        <p:nvGrpSpPr>
          <p:cNvPr id="30" name="组合 29"/>
          <p:cNvGrpSpPr>
            <a:grpSpLocks noChangeAspect="1"/>
          </p:cNvGrpSpPr>
          <p:nvPr userDrawn="1"/>
        </p:nvGrpSpPr>
        <p:grpSpPr>
          <a:xfrm>
            <a:off x="4773100" y="2458868"/>
            <a:ext cx="2645800" cy="1440000"/>
            <a:chOff x="-1906587" y="2205038"/>
            <a:chExt cx="3138488" cy="1708149"/>
          </a:xfrm>
          <a:solidFill>
            <a:srgbClr val="005BAC"/>
          </a:solidFill>
        </p:grpSpPr>
        <p:sp>
          <p:nvSpPr>
            <p:cNvPr id="58" name="Freeform 5"/>
            <p:cNvSpPr/>
            <p:nvPr/>
          </p:nvSpPr>
          <p:spPr bwMode="auto">
            <a:xfrm>
              <a:off x="-474662" y="2205038"/>
              <a:ext cx="1706563" cy="1708149"/>
            </a:xfrm>
            <a:custGeom>
              <a:avLst/>
              <a:gdLst>
                <a:gd name="T0" fmla="*/ 907 w 907"/>
                <a:gd name="T1" fmla="*/ 907 h 907"/>
                <a:gd name="T2" fmla="*/ 0 w 907"/>
                <a:gd name="T3" fmla="*/ 907 h 907"/>
                <a:gd name="T4" fmla="*/ 0 w 907"/>
                <a:gd name="T5" fmla="*/ 794 h 907"/>
                <a:gd name="T6" fmla="*/ 14 w 907"/>
                <a:gd name="T7" fmla="*/ 794 h 907"/>
                <a:gd name="T8" fmla="*/ 14 w 907"/>
                <a:gd name="T9" fmla="*/ 894 h 907"/>
                <a:gd name="T10" fmla="*/ 893 w 907"/>
                <a:gd name="T11" fmla="*/ 894 h 907"/>
                <a:gd name="T12" fmla="*/ 893 w 907"/>
                <a:gd name="T13" fmla="*/ 67 h 907"/>
                <a:gd name="T14" fmla="*/ 840 w 907"/>
                <a:gd name="T15" fmla="*/ 14 h 907"/>
                <a:gd name="T16" fmla="*/ 14 w 907"/>
                <a:gd name="T17" fmla="*/ 14 h 907"/>
                <a:gd name="T18" fmla="*/ 14 w 907"/>
                <a:gd name="T19" fmla="*/ 114 h 907"/>
                <a:gd name="T20" fmla="*/ 0 w 907"/>
                <a:gd name="T21" fmla="*/ 114 h 907"/>
                <a:gd name="T22" fmla="*/ 0 w 907"/>
                <a:gd name="T23" fmla="*/ 0 h 907"/>
                <a:gd name="T24" fmla="*/ 840 w 907"/>
                <a:gd name="T25" fmla="*/ 0 h 907"/>
                <a:gd name="T26" fmla="*/ 907 w 907"/>
                <a:gd name="T27" fmla="*/ 67 h 907"/>
                <a:gd name="T28" fmla="*/ 907 w 907"/>
                <a:gd name="T29" fmla="*/ 907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07" h="907">
                  <a:moveTo>
                    <a:pt x="907" y="907"/>
                  </a:moveTo>
                  <a:cubicBezTo>
                    <a:pt x="0" y="907"/>
                    <a:pt x="0" y="907"/>
                    <a:pt x="0" y="907"/>
                  </a:cubicBezTo>
                  <a:cubicBezTo>
                    <a:pt x="0" y="794"/>
                    <a:pt x="0" y="794"/>
                    <a:pt x="0" y="794"/>
                  </a:cubicBezTo>
                  <a:cubicBezTo>
                    <a:pt x="14" y="794"/>
                    <a:pt x="14" y="794"/>
                    <a:pt x="14" y="794"/>
                  </a:cubicBezTo>
                  <a:cubicBezTo>
                    <a:pt x="14" y="894"/>
                    <a:pt x="14" y="894"/>
                    <a:pt x="14" y="894"/>
                  </a:cubicBezTo>
                  <a:cubicBezTo>
                    <a:pt x="893" y="894"/>
                    <a:pt x="893" y="894"/>
                    <a:pt x="893" y="894"/>
                  </a:cubicBezTo>
                  <a:cubicBezTo>
                    <a:pt x="893" y="67"/>
                    <a:pt x="893" y="67"/>
                    <a:pt x="893" y="67"/>
                  </a:cubicBezTo>
                  <a:cubicBezTo>
                    <a:pt x="893" y="38"/>
                    <a:pt x="869" y="14"/>
                    <a:pt x="840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40" y="0"/>
                    <a:pt x="840" y="0"/>
                    <a:pt x="840" y="0"/>
                  </a:cubicBezTo>
                  <a:cubicBezTo>
                    <a:pt x="877" y="0"/>
                    <a:pt x="907" y="30"/>
                    <a:pt x="907" y="67"/>
                  </a:cubicBezTo>
                  <a:lnTo>
                    <a:pt x="907" y="9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" name="Freeform 6"/>
            <p:cNvSpPr/>
            <p:nvPr/>
          </p:nvSpPr>
          <p:spPr bwMode="auto">
            <a:xfrm>
              <a:off x="-1604962" y="3225800"/>
              <a:ext cx="133350" cy="193675"/>
            </a:xfrm>
            <a:custGeom>
              <a:avLst/>
              <a:gdLst>
                <a:gd name="T0" fmla="*/ 69 w 71"/>
                <a:gd name="T1" fmla="*/ 11 h 103"/>
                <a:gd name="T2" fmla="*/ 42 w 71"/>
                <a:gd name="T3" fmla="*/ 11 h 103"/>
                <a:gd name="T4" fmla="*/ 42 w 71"/>
                <a:gd name="T5" fmla="*/ 100 h 103"/>
                <a:gd name="T6" fmla="*/ 39 w 71"/>
                <a:gd name="T7" fmla="*/ 103 h 103"/>
                <a:gd name="T8" fmla="*/ 32 w 71"/>
                <a:gd name="T9" fmla="*/ 103 h 103"/>
                <a:gd name="T10" fmla="*/ 29 w 71"/>
                <a:gd name="T11" fmla="*/ 100 h 103"/>
                <a:gd name="T12" fmla="*/ 29 w 71"/>
                <a:gd name="T13" fmla="*/ 11 h 103"/>
                <a:gd name="T14" fmla="*/ 2 w 71"/>
                <a:gd name="T15" fmla="*/ 11 h 103"/>
                <a:gd name="T16" fmla="*/ 0 w 71"/>
                <a:gd name="T17" fmla="*/ 9 h 103"/>
                <a:gd name="T18" fmla="*/ 0 w 71"/>
                <a:gd name="T19" fmla="*/ 2 h 103"/>
                <a:gd name="T20" fmla="*/ 2 w 71"/>
                <a:gd name="T21" fmla="*/ 0 h 103"/>
                <a:gd name="T22" fmla="*/ 69 w 71"/>
                <a:gd name="T23" fmla="*/ 0 h 103"/>
                <a:gd name="T24" fmla="*/ 71 w 71"/>
                <a:gd name="T25" fmla="*/ 2 h 103"/>
                <a:gd name="T26" fmla="*/ 71 w 71"/>
                <a:gd name="T27" fmla="*/ 9 h 103"/>
                <a:gd name="T28" fmla="*/ 69 w 71"/>
                <a:gd name="T29" fmla="*/ 1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103">
                  <a:moveTo>
                    <a:pt x="69" y="11"/>
                  </a:moveTo>
                  <a:cubicBezTo>
                    <a:pt x="42" y="11"/>
                    <a:pt x="42" y="11"/>
                    <a:pt x="42" y="11"/>
                  </a:cubicBezTo>
                  <a:cubicBezTo>
                    <a:pt x="42" y="100"/>
                    <a:pt x="42" y="100"/>
                    <a:pt x="42" y="100"/>
                  </a:cubicBezTo>
                  <a:cubicBezTo>
                    <a:pt x="42" y="101"/>
                    <a:pt x="41" y="103"/>
                    <a:pt x="39" y="103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0" y="103"/>
                    <a:pt x="29" y="101"/>
                    <a:pt x="29" y="100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0" y="10"/>
                    <a:pt x="0" y="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70" y="0"/>
                    <a:pt x="71" y="1"/>
                    <a:pt x="71" y="2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71" y="10"/>
                    <a:pt x="70" y="11"/>
                    <a:pt x="6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" name="Freeform 7"/>
            <p:cNvSpPr/>
            <p:nvPr/>
          </p:nvSpPr>
          <p:spPr bwMode="auto">
            <a:xfrm>
              <a:off x="-1443037" y="3224213"/>
              <a:ext cx="109538" cy="195262"/>
            </a:xfrm>
            <a:custGeom>
              <a:avLst/>
              <a:gdLst>
                <a:gd name="T0" fmla="*/ 55 w 58"/>
                <a:gd name="T1" fmla="*/ 104 h 104"/>
                <a:gd name="T2" fmla="*/ 48 w 58"/>
                <a:gd name="T3" fmla="*/ 104 h 104"/>
                <a:gd name="T4" fmla="*/ 46 w 58"/>
                <a:gd name="T5" fmla="*/ 101 h 104"/>
                <a:gd name="T6" fmla="*/ 46 w 58"/>
                <a:gd name="T7" fmla="*/ 55 h 104"/>
                <a:gd name="T8" fmla="*/ 31 w 58"/>
                <a:gd name="T9" fmla="*/ 37 h 104"/>
                <a:gd name="T10" fmla="*/ 12 w 58"/>
                <a:gd name="T11" fmla="*/ 41 h 104"/>
                <a:gd name="T12" fmla="*/ 12 w 58"/>
                <a:gd name="T13" fmla="*/ 101 h 104"/>
                <a:gd name="T14" fmla="*/ 9 w 58"/>
                <a:gd name="T15" fmla="*/ 104 h 104"/>
                <a:gd name="T16" fmla="*/ 2 w 58"/>
                <a:gd name="T17" fmla="*/ 104 h 104"/>
                <a:gd name="T18" fmla="*/ 0 w 58"/>
                <a:gd name="T19" fmla="*/ 101 h 104"/>
                <a:gd name="T20" fmla="*/ 0 w 58"/>
                <a:gd name="T21" fmla="*/ 2 h 104"/>
                <a:gd name="T22" fmla="*/ 2 w 58"/>
                <a:gd name="T23" fmla="*/ 0 h 104"/>
                <a:gd name="T24" fmla="*/ 9 w 58"/>
                <a:gd name="T25" fmla="*/ 0 h 104"/>
                <a:gd name="T26" fmla="*/ 12 w 58"/>
                <a:gd name="T27" fmla="*/ 2 h 104"/>
                <a:gd name="T28" fmla="*/ 12 w 58"/>
                <a:gd name="T29" fmla="*/ 31 h 104"/>
                <a:gd name="T30" fmla="*/ 33 w 58"/>
                <a:gd name="T31" fmla="*/ 27 h 104"/>
                <a:gd name="T32" fmla="*/ 58 w 58"/>
                <a:gd name="T33" fmla="*/ 55 h 104"/>
                <a:gd name="T34" fmla="*/ 58 w 58"/>
                <a:gd name="T35" fmla="*/ 101 h 104"/>
                <a:gd name="T36" fmla="*/ 55 w 58"/>
                <a:gd name="T3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" h="104">
                  <a:moveTo>
                    <a:pt x="55" y="104"/>
                  </a:moveTo>
                  <a:cubicBezTo>
                    <a:pt x="48" y="104"/>
                    <a:pt x="48" y="104"/>
                    <a:pt x="48" y="104"/>
                  </a:cubicBezTo>
                  <a:cubicBezTo>
                    <a:pt x="47" y="104"/>
                    <a:pt x="46" y="102"/>
                    <a:pt x="46" y="101"/>
                  </a:cubicBezTo>
                  <a:cubicBezTo>
                    <a:pt x="46" y="55"/>
                    <a:pt x="46" y="55"/>
                    <a:pt x="46" y="55"/>
                  </a:cubicBezTo>
                  <a:cubicBezTo>
                    <a:pt x="46" y="42"/>
                    <a:pt x="40" y="37"/>
                    <a:pt x="31" y="37"/>
                  </a:cubicBezTo>
                  <a:cubicBezTo>
                    <a:pt x="27" y="37"/>
                    <a:pt x="18" y="38"/>
                    <a:pt x="12" y="4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2"/>
                    <a:pt x="11" y="104"/>
                    <a:pt x="9" y="104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1" y="104"/>
                    <a:pt x="0" y="102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8" y="28"/>
                    <a:pt x="27" y="27"/>
                    <a:pt x="33" y="27"/>
                  </a:cubicBezTo>
                  <a:cubicBezTo>
                    <a:pt x="48" y="27"/>
                    <a:pt x="58" y="35"/>
                    <a:pt x="58" y="55"/>
                  </a:cubicBezTo>
                  <a:cubicBezTo>
                    <a:pt x="58" y="101"/>
                    <a:pt x="58" y="101"/>
                    <a:pt x="58" y="101"/>
                  </a:cubicBezTo>
                  <a:cubicBezTo>
                    <a:pt x="58" y="102"/>
                    <a:pt x="57" y="104"/>
                    <a:pt x="55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" name="Freeform 8"/>
            <p:cNvSpPr>
              <a:spLocks noEditPoints="1"/>
            </p:cNvSpPr>
            <p:nvPr/>
          </p:nvSpPr>
          <p:spPr bwMode="auto">
            <a:xfrm>
              <a:off x="-1304925" y="3275013"/>
              <a:ext cx="115888" cy="147637"/>
            </a:xfrm>
            <a:custGeom>
              <a:avLst/>
              <a:gdLst>
                <a:gd name="T0" fmla="*/ 59 w 61"/>
                <a:gd name="T1" fmla="*/ 42 h 78"/>
                <a:gd name="T2" fmla="*/ 12 w 61"/>
                <a:gd name="T3" fmla="*/ 42 h 78"/>
                <a:gd name="T4" fmla="*/ 12 w 61"/>
                <a:gd name="T5" fmla="*/ 44 h 78"/>
                <a:gd name="T6" fmla="*/ 32 w 61"/>
                <a:gd name="T7" fmla="*/ 67 h 78"/>
                <a:gd name="T8" fmla="*/ 56 w 61"/>
                <a:gd name="T9" fmla="*/ 65 h 78"/>
                <a:gd name="T10" fmla="*/ 57 w 61"/>
                <a:gd name="T11" fmla="*/ 65 h 78"/>
                <a:gd name="T12" fmla="*/ 59 w 61"/>
                <a:gd name="T13" fmla="*/ 67 h 78"/>
                <a:gd name="T14" fmla="*/ 59 w 61"/>
                <a:gd name="T15" fmla="*/ 72 h 78"/>
                <a:gd name="T16" fmla="*/ 56 w 61"/>
                <a:gd name="T17" fmla="*/ 75 h 78"/>
                <a:gd name="T18" fmla="*/ 32 w 61"/>
                <a:gd name="T19" fmla="*/ 78 h 78"/>
                <a:gd name="T20" fmla="*/ 0 w 61"/>
                <a:gd name="T21" fmla="*/ 44 h 78"/>
                <a:gd name="T22" fmla="*/ 0 w 61"/>
                <a:gd name="T23" fmla="*/ 32 h 78"/>
                <a:gd name="T24" fmla="*/ 31 w 61"/>
                <a:gd name="T25" fmla="*/ 0 h 78"/>
                <a:gd name="T26" fmla="*/ 61 w 61"/>
                <a:gd name="T27" fmla="*/ 32 h 78"/>
                <a:gd name="T28" fmla="*/ 61 w 61"/>
                <a:gd name="T29" fmla="*/ 39 h 78"/>
                <a:gd name="T30" fmla="*/ 59 w 61"/>
                <a:gd name="T31" fmla="*/ 42 h 78"/>
                <a:gd name="T32" fmla="*/ 49 w 61"/>
                <a:gd name="T33" fmla="*/ 32 h 78"/>
                <a:gd name="T34" fmla="*/ 31 w 61"/>
                <a:gd name="T35" fmla="*/ 10 h 78"/>
                <a:gd name="T36" fmla="*/ 12 w 61"/>
                <a:gd name="T37" fmla="*/ 32 h 78"/>
                <a:gd name="T38" fmla="*/ 12 w 61"/>
                <a:gd name="T39" fmla="*/ 33 h 78"/>
                <a:gd name="T40" fmla="*/ 49 w 61"/>
                <a:gd name="T41" fmla="*/ 33 h 78"/>
                <a:gd name="T42" fmla="*/ 49 w 61"/>
                <a:gd name="T43" fmla="*/ 3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1" h="78">
                  <a:moveTo>
                    <a:pt x="59" y="42"/>
                  </a:moveTo>
                  <a:cubicBezTo>
                    <a:pt x="12" y="42"/>
                    <a:pt x="12" y="42"/>
                    <a:pt x="12" y="42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61"/>
                    <a:pt x="19" y="67"/>
                    <a:pt x="32" y="67"/>
                  </a:cubicBezTo>
                  <a:cubicBezTo>
                    <a:pt x="40" y="67"/>
                    <a:pt x="50" y="66"/>
                    <a:pt x="56" y="65"/>
                  </a:cubicBezTo>
                  <a:cubicBezTo>
                    <a:pt x="56" y="65"/>
                    <a:pt x="57" y="65"/>
                    <a:pt x="57" y="65"/>
                  </a:cubicBezTo>
                  <a:cubicBezTo>
                    <a:pt x="58" y="65"/>
                    <a:pt x="59" y="66"/>
                    <a:pt x="59" y="67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4"/>
                    <a:pt x="58" y="75"/>
                    <a:pt x="56" y="75"/>
                  </a:cubicBezTo>
                  <a:cubicBezTo>
                    <a:pt x="48" y="77"/>
                    <a:pt x="41" y="78"/>
                    <a:pt x="32" y="78"/>
                  </a:cubicBezTo>
                  <a:cubicBezTo>
                    <a:pt x="16" y="78"/>
                    <a:pt x="0" y="70"/>
                    <a:pt x="0" y="4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2"/>
                    <a:pt x="11" y="0"/>
                    <a:pt x="31" y="0"/>
                  </a:cubicBezTo>
                  <a:cubicBezTo>
                    <a:pt x="51" y="0"/>
                    <a:pt x="61" y="12"/>
                    <a:pt x="61" y="32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41"/>
                    <a:pt x="60" y="42"/>
                    <a:pt x="59" y="42"/>
                  </a:cubicBezTo>
                  <a:close/>
                  <a:moveTo>
                    <a:pt x="49" y="32"/>
                  </a:moveTo>
                  <a:cubicBezTo>
                    <a:pt x="49" y="16"/>
                    <a:pt x="43" y="10"/>
                    <a:pt x="31" y="10"/>
                  </a:cubicBezTo>
                  <a:cubicBezTo>
                    <a:pt x="19" y="10"/>
                    <a:pt x="12" y="17"/>
                    <a:pt x="12" y="3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49" y="33"/>
                    <a:pt x="49" y="33"/>
                    <a:pt x="49" y="33"/>
                  </a:cubicBezTo>
                  <a:lnTo>
                    <a:pt x="49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" name="Freeform 9"/>
            <p:cNvSpPr/>
            <p:nvPr/>
          </p:nvSpPr>
          <p:spPr bwMode="auto">
            <a:xfrm>
              <a:off x="-1092200" y="3225800"/>
              <a:ext cx="158750" cy="193675"/>
            </a:xfrm>
            <a:custGeom>
              <a:avLst/>
              <a:gdLst>
                <a:gd name="T0" fmla="*/ 81 w 84"/>
                <a:gd name="T1" fmla="*/ 103 h 103"/>
                <a:gd name="T2" fmla="*/ 75 w 84"/>
                <a:gd name="T3" fmla="*/ 103 h 103"/>
                <a:gd name="T4" fmla="*/ 72 w 84"/>
                <a:gd name="T5" fmla="*/ 100 h 103"/>
                <a:gd name="T6" fmla="*/ 72 w 84"/>
                <a:gd name="T7" fmla="*/ 18 h 103"/>
                <a:gd name="T8" fmla="*/ 72 w 84"/>
                <a:gd name="T9" fmla="*/ 17 h 103"/>
                <a:gd name="T10" fmla="*/ 71 w 84"/>
                <a:gd name="T11" fmla="*/ 18 h 103"/>
                <a:gd name="T12" fmla="*/ 52 w 84"/>
                <a:gd name="T13" fmla="*/ 59 h 103"/>
                <a:gd name="T14" fmla="*/ 45 w 84"/>
                <a:gd name="T15" fmla="*/ 63 h 103"/>
                <a:gd name="T16" fmla="*/ 39 w 84"/>
                <a:gd name="T17" fmla="*/ 63 h 103"/>
                <a:gd name="T18" fmla="*/ 33 w 84"/>
                <a:gd name="T19" fmla="*/ 59 h 103"/>
                <a:gd name="T20" fmla="*/ 13 w 84"/>
                <a:gd name="T21" fmla="*/ 18 h 103"/>
                <a:gd name="T22" fmla="*/ 13 w 84"/>
                <a:gd name="T23" fmla="*/ 17 h 103"/>
                <a:gd name="T24" fmla="*/ 13 w 84"/>
                <a:gd name="T25" fmla="*/ 18 h 103"/>
                <a:gd name="T26" fmla="*/ 13 w 84"/>
                <a:gd name="T27" fmla="*/ 100 h 103"/>
                <a:gd name="T28" fmla="*/ 10 w 84"/>
                <a:gd name="T29" fmla="*/ 103 h 103"/>
                <a:gd name="T30" fmla="*/ 3 w 84"/>
                <a:gd name="T31" fmla="*/ 103 h 103"/>
                <a:gd name="T32" fmla="*/ 0 w 84"/>
                <a:gd name="T33" fmla="*/ 100 h 103"/>
                <a:gd name="T34" fmla="*/ 0 w 84"/>
                <a:gd name="T35" fmla="*/ 4 h 103"/>
                <a:gd name="T36" fmla="*/ 4 w 84"/>
                <a:gd name="T37" fmla="*/ 0 h 103"/>
                <a:gd name="T38" fmla="*/ 13 w 84"/>
                <a:gd name="T39" fmla="*/ 0 h 103"/>
                <a:gd name="T40" fmla="*/ 18 w 84"/>
                <a:gd name="T41" fmla="*/ 2 h 103"/>
                <a:gd name="T42" fmla="*/ 41 w 84"/>
                <a:gd name="T43" fmla="*/ 50 h 103"/>
                <a:gd name="T44" fmla="*/ 42 w 84"/>
                <a:gd name="T45" fmla="*/ 51 h 103"/>
                <a:gd name="T46" fmla="*/ 44 w 84"/>
                <a:gd name="T47" fmla="*/ 50 h 103"/>
                <a:gd name="T48" fmla="*/ 67 w 84"/>
                <a:gd name="T49" fmla="*/ 2 h 103"/>
                <a:gd name="T50" fmla="*/ 71 w 84"/>
                <a:gd name="T51" fmla="*/ 0 h 103"/>
                <a:gd name="T52" fmla="*/ 80 w 84"/>
                <a:gd name="T53" fmla="*/ 0 h 103"/>
                <a:gd name="T54" fmla="*/ 84 w 84"/>
                <a:gd name="T55" fmla="*/ 4 h 103"/>
                <a:gd name="T56" fmla="*/ 84 w 84"/>
                <a:gd name="T57" fmla="*/ 100 h 103"/>
                <a:gd name="T58" fmla="*/ 81 w 84"/>
                <a:gd name="T5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4" h="103">
                  <a:moveTo>
                    <a:pt x="81" y="103"/>
                  </a:moveTo>
                  <a:cubicBezTo>
                    <a:pt x="75" y="103"/>
                    <a:pt x="75" y="103"/>
                    <a:pt x="75" y="103"/>
                  </a:cubicBezTo>
                  <a:cubicBezTo>
                    <a:pt x="73" y="103"/>
                    <a:pt x="72" y="101"/>
                    <a:pt x="72" y="100"/>
                  </a:cubicBezTo>
                  <a:cubicBezTo>
                    <a:pt x="72" y="18"/>
                    <a:pt x="72" y="18"/>
                    <a:pt x="72" y="18"/>
                  </a:cubicBezTo>
                  <a:cubicBezTo>
                    <a:pt x="72" y="18"/>
                    <a:pt x="72" y="17"/>
                    <a:pt x="72" y="17"/>
                  </a:cubicBezTo>
                  <a:cubicBezTo>
                    <a:pt x="71" y="17"/>
                    <a:pt x="71" y="17"/>
                    <a:pt x="71" y="18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0" y="61"/>
                    <a:pt x="49" y="63"/>
                    <a:pt x="45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6" y="63"/>
                    <a:pt x="34" y="61"/>
                    <a:pt x="33" y="59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8"/>
                    <a:pt x="13" y="18"/>
                  </a:cubicBezTo>
                  <a:cubicBezTo>
                    <a:pt x="13" y="100"/>
                    <a:pt x="13" y="100"/>
                    <a:pt x="13" y="100"/>
                  </a:cubicBezTo>
                  <a:cubicBezTo>
                    <a:pt x="13" y="101"/>
                    <a:pt x="11" y="103"/>
                    <a:pt x="10" y="103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2" y="103"/>
                    <a:pt x="0" y="101"/>
                    <a:pt x="0" y="10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7" y="1"/>
                    <a:pt x="18" y="2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1"/>
                    <a:pt x="41" y="51"/>
                    <a:pt x="42" y="51"/>
                  </a:cubicBezTo>
                  <a:cubicBezTo>
                    <a:pt x="43" y="51"/>
                    <a:pt x="43" y="51"/>
                    <a:pt x="44" y="50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1"/>
                    <a:pt x="69" y="0"/>
                    <a:pt x="71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2" y="0"/>
                    <a:pt x="84" y="2"/>
                    <a:pt x="84" y="4"/>
                  </a:cubicBezTo>
                  <a:cubicBezTo>
                    <a:pt x="84" y="100"/>
                    <a:pt x="84" y="100"/>
                    <a:pt x="84" y="100"/>
                  </a:cubicBezTo>
                  <a:cubicBezTo>
                    <a:pt x="84" y="101"/>
                    <a:pt x="83" y="103"/>
                    <a:pt x="81" y="1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" name="Freeform 10"/>
            <p:cNvSpPr>
              <a:spLocks noEditPoints="1"/>
            </p:cNvSpPr>
            <p:nvPr/>
          </p:nvSpPr>
          <p:spPr bwMode="auto">
            <a:xfrm>
              <a:off x="-901700" y="3275013"/>
              <a:ext cx="104775" cy="147637"/>
            </a:xfrm>
            <a:custGeom>
              <a:avLst/>
              <a:gdLst>
                <a:gd name="T0" fmla="*/ 53 w 56"/>
                <a:gd name="T1" fmla="*/ 77 h 78"/>
                <a:gd name="T2" fmla="*/ 47 w 56"/>
                <a:gd name="T3" fmla="*/ 77 h 78"/>
                <a:gd name="T4" fmla="*/ 44 w 56"/>
                <a:gd name="T5" fmla="*/ 74 h 78"/>
                <a:gd name="T6" fmla="*/ 44 w 56"/>
                <a:gd name="T7" fmla="*/ 71 h 78"/>
                <a:gd name="T8" fmla="*/ 23 w 56"/>
                <a:gd name="T9" fmla="*/ 78 h 78"/>
                <a:gd name="T10" fmla="*/ 0 w 56"/>
                <a:gd name="T11" fmla="*/ 55 h 78"/>
                <a:gd name="T12" fmla="*/ 0 w 56"/>
                <a:gd name="T13" fmla="*/ 54 h 78"/>
                <a:gd name="T14" fmla="*/ 34 w 56"/>
                <a:gd name="T15" fmla="*/ 31 h 78"/>
                <a:gd name="T16" fmla="*/ 44 w 56"/>
                <a:gd name="T17" fmla="*/ 31 h 78"/>
                <a:gd name="T18" fmla="*/ 44 w 56"/>
                <a:gd name="T19" fmla="*/ 26 h 78"/>
                <a:gd name="T20" fmla="*/ 29 w 56"/>
                <a:gd name="T21" fmla="*/ 10 h 78"/>
                <a:gd name="T22" fmla="*/ 8 w 56"/>
                <a:gd name="T23" fmla="*/ 11 h 78"/>
                <a:gd name="T24" fmla="*/ 7 w 56"/>
                <a:gd name="T25" fmla="*/ 11 h 78"/>
                <a:gd name="T26" fmla="*/ 5 w 56"/>
                <a:gd name="T27" fmla="*/ 9 h 78"/>
                <a:gd name="T28" fmla="*/ 5 w 56"/>
                <a:gd name="T29" fmla="*/ 4 h 78"/>
                <a:gd name="T30" fmla="*/ 8 w 56"/>
                <a:gd name="T31" fmla="*/ 1 h 78"/>
                <a:gd name="T32" fmla="*/ 29 w 56"/>
                <a:gd name="T33" fmla="*/ 0 h 78"/>
                <a:gd name="T34" fmla="*/ 56 w 56"/>
                <a:gd name="T35" fmla="*/ 26 h 78"/>
                <a:gd name="T36" fmla="*/ 56 w 56"/>
                <a:gd name="T37" fmla="*/ 74 h 78"/>
                <a:gd name="T38" fmla="*/ 53 w 56"/>
                <a:gd name="T39" fmla="*/ 77 h 78"/>
                <a:gd name="T40" fmla="*/ 44 w 56"/>
                <a:gd name="T41" fmla="*/ 40 h 78"/>
                <a:gd name="T42" fmla="*/ 34 w 56"/>
                <a:gd name="T43" fmla="*/ 40 h 78"/>
                <a:gd name="T44" fmla="*/ 12 w 56"/>
                <a:gd name="T45" fmla="*/ 53 h 78"/>
                <a:gd name="T46" fmla="*/ 12 w 56"/>
                <a:gd name="T47" fmla="*/ 55 h 78"/>
                <a:gd name="T48" fmla="*/ 25 w 56"/>
                <a:gd name="T49" fmla="*/ 68 h 78"/>
                <a:gd name="T50" fmla="*/ 44 w 56"/>
                <a:gd name="T51" fmla="*/ 62 h 78"/>
                <a:gd name="T52" fmla="*/ 44 w 56"/>
                <a:gd name="T53" fmla="*/ 4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6" h="78">
                  <a:moveTo>
                    <a:pt x="53" y="77"/>
                  </a:moveTo>
                  <a:cubicBezTo>
                    <a:pt x="47" y="77"/>
                    <a:pt x="47" y="77"/>
                    <a:pt x="47" y="77"/>
                  </a:cubicBezTo>
                  <a:cubicBezTo>
                    <a:pt x="45" y="77"/>
                    <a:pt x="44" y="75"/>
                    <a:pt x="44" y="74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37" y="75"/>
                    <a:pt x="31" y="78"/>
                    <a:pt x="23" y="78"/>
                  </a:cubicBezTo>
                  <a:cubicBezTo>
                    <a:pt x="11" y="78"/>
                    <a:pt x="0" y="72"/>
                    <a:pt x="0" y="5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39"/>
                    <a:pt x="9" y="31"/>
                    <a:pt x="3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14"/>
                    <a:pt x="40" y="10"/>
                    <a:pt x="29" y="10"/>
                  </a:cubicBezTo>
                  <a:cubicBezTo>
                    <a:pt x="20" y="10"/>
                    <a:pt x="13" y="11"/>
                    <a:pt x="8" y="11"/>
                  </a:cubicBezTo>
                  <a:cubicBezTo>
                    <a:pt x="8" y="11"/>
                    <a:pt x="8" y="11"/>
                    <a:pt x="7" y="11"/>
                  </a:cubicBezTo>
                  <a:cubicBezTo>
                    <a:pt x="6" y="11"/>
                    <a:pt x="5" y="11"/>
                    <a:pt x="5" y="9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8" y="1"/>
                  </a:cubicBezTo>
                  <a:cubicBezTo>
                    <a:pt x="13" y="0"/>
                    <a:pt x="20" y="0"/>
                    <a:pt x="29" y="0"/>
                  </a:cubicBezTo>
                  <a:cubicBezTo>
                    <a:pt x="48" y="0"/>
                    <a:pt x="56" y="9"/>
                    <a:pt x="56" y="26"/>
                  </a:cubicBezTo>
                  <a:cubicBezTo>
                    <a:pt x="56" y="74"/>
                    <a:pt x="56" y="74"/>
                    <a:pt x="56" y="74"/>
                  </a:cubicBezTo>
                  <a:cubicBezTo>
                    <a:pt x="56" y="75"/>
                    <a:pt x="55" y="77"/>
                    <a:pt x="53" y="77"/>
                  </a:cubicBezTo>
                  <a:close/>
                  <a:moveTo>
                    <a:pt x="44" y="40"/>
                  </a:moveTo>
                  <a:cubicBezTo>
                    <a:pt x="34" y="40"/>
                    <a:pt x="34" y="40"/>
                    <a:pt x="34" y="40"/>
                  </a:cubicBezTo>
                  <a:cubicBezTo>
                    <a:pt x="17" y="40"/>
                    <a:pt x="12" y="44"/>
                    <a:pt x="12" y="53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65"/>
                    <a:pt x="17" y="68"/>
                    <a:pt x="25" y="68"/>
                  </a:cubicBezTo>
                  <a:cubicBezTo>
                    <a:pt x="32" y="68"/>
                    <a:pt x="37" y="66"/>
                    <a:pt x="44" y="62"/>
                  </a:cubicBezTo>
                  <a:lnTo>
                    <a:pt x="4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" name="Freeform 11"/>
            <p:cNvSpPr>
              <a:spLocks noEditPoints="1"/>
            </p:cNvSpPr>
            <p:nvPr/>
          </p:nvSpPr>
          <p:spPr bwMode="auto">
            <a:xfrm>
              <a:off x="-763587" y="3276600"/>
              <a:ext cx="122238" cy="193675"/>
            </a:xfrm>
            <a:custGeom>
              <a:avLst/>
              <a:gdLst>
                <a:gd name="T0" fmla="*/ 62 w 65"/>
                <a:gd name="T1" fmla="*/ 9 h 103"/>
                <a:gd name="T2" fmla="*/ 57 w 65"/>
                <a:gd name="T3" fmla="*/ 10 h 103"/>
                <a:gd name="T4" fmla="*/ 62 w 65"/>
                <a:gd name="T5" fmla="*/ 24 h 103"/>
                <a:gd name="T6" fmla="*/ 62 w 65"/>
                <a:gd name="T7" fmla="*/ 25 h 103"/>
                <a:gd name="T8" fmla="*/ 31 w 65"/>
                <a:gd name="T9" fmla="*/ 49 h 103"/>
                <a:gd name="T10" fmla="*/ 15 w 65"/>
                <a:gd name="T11" fmla="*/ 46 h 103"/>
                <a:gd name="T12" fmla="*/ 12 w 65"/>
                <a:gd name="T13" fmla="*/ 51 h 103"/>
                <a:gd name="T14" fmla="*/ 16 w 65"/>
                <a:gd name="T15" fmla="*/ 55 h 103"/>
                <a:gd name="T16" fmla="*/ 37 w 65"/>
                <a:gd name="T17" fmla="*/ 60 h 103"/>
                <a:gd name="T18" fmla="*/ 63 w 65"/>
                <a:gd name="T19" fmla="*/ 81 h 103"/>
                <a:gd name="T20" fmla="*/ 63 w 65"/>
                <a:gd name="T21" fmla="*/ 82 h 103"/>
                <a:gd name="T22" fmla="*/ 32 w 65"/>
                <a:gd name="T23" fmla="*/ 103 h 103"/>
                <a:gd name="T24" fmla="*/ 0 w 65"/>
                <a:gd name="T25" fmla="*/ 81 h 103"/>
                <a:gd name="T26" fmla="*/ 0 w 65"/>
                <a:gd name="T27" fmla="*/ 80 h 103"/>
                <a:gd name="T28" fmla="*/ 9 w 65"/>
                <a:gd name="T29" fmla="*/ 62 h 103"/>
                <a:gd name="T30" fmla="*/ 8 w 65"/>
                <a:gd name="T31" fmla="*/ 62 h 103"/>
                <a:gd name="T32" fmla="*/ 1 w 65"/>
                <a:gd name="T33" fmla="*/ 51 h 103"/>
                <a:gd name="T34" fmla="*/ 1 w 65"/>
                <a:gd name="T35" fmla="*/ 51 h 103"/>
                <a:gd name="T36" fmla="*/ 7 w 65"/>
                <a:gd name="T37" fmla="*/ 41 h 103"/>
                <a:gd name="T38" fmla="*/ 1 w 65"/>
                <a:gd name="T39" fmla="*/ 25 h 103"/>
                <a:gd name="T40" fmla="*/ 1 w 65"/>
                <a:gd name="T41" fmla="*/ 24 h 103"/>
                <a:gd name="T42" fmla="*/ 31 w 65"/>
                <a:gd name="T43" fmla="*/ 0 h 103"/>
                <a:gd name="T44" fmla="*/ 61 w 65"/>
                <a:gd name="T45" fmla="*/ 0 h 103"/>
                <a:gd name="T46" fmla="*/ 65 w 65"/>
                <a:gd name="T47" fmla="*/ 3 h 103"/>
                <a:gd name="T48" fmla="*/ 65 w 65"/>
                <a:gd name="T49" fmla="*/ 6 h 103"/>
                <a:gd name="T50" fmla="*/ 62 w 65"/>
                <a:gd name="T51" fmla="*/ 9 h 103"/>
                <a:gd name="T52" fmla="*/ 51 w 65"/>
                <a:gd name="T53" fmla="*/ 81 h 103"/>
                <a:gd name="T54" fmla="*/ 34 w 65"/>
                <a:gd name="T55" fmla="*/ 70 h 103"/>
                <a:gd name="T56" fmla="*/ 19 w 65"/>
                <a:gd name="T57" fmla="*/ 66 h 103"/>
                <a:gd name="T58" fmla="*/ 12 w 65"/>
                <a:gd name="T59" fmla="*/ 80 h 103"/>
                <a:gd name="T60" fmla="*/ 12 w 65"/>
                <a:gd name="T61" fmla="*/ 81 h 103"/>
                <a:gd name="T62" fmla="*/ 32 w 65"/>
                <a:gd name="T63" fmla="*/ 94 h 103"/>
                <a:gd name="T64" fmla="*/ 51 w 65"/>
                <a:gd name="T65" fmla="*/ 82 h 103"/>
                <a:gd name="T66" fmla="*/ 51 w 65"/>
                <a:gd name="T67" fmla="*/ 81 h 103"/>
                <a:gd name="T68" fmla="*/ 50 w 65"/>
                <a:gd name="T69" fmla="*/ 24 h 103"/>
                <a:gd name="T70" fmla="*/ 31 w 65"/>
                <a:gd name="T71" fmla="*/ 9 h 103"/>
                <a:gd name="T72" fmla="*/ 13 w 65"/>
                <a:gd name="T73" fmla="*/ 24 h 103"/>
                <a:gd name="T74" fmla="*/ 13 w 65"/>
                <a:gd name="T75" fmla="*/ 25 h 103"/>
                <a:gd name="T76" fmla="*/ 31 w 65"/>
                <a:gd name="T77" fmla="*/ 39 h 103"/>
                <a:gd name="T78" fmla="*/ 50 w 65"/>
                <a:gd name="T79" fmla="*/ 25 h 103"/>
                <a:gd name="T80" fmla="*/ 50 w 65"/>
                <a:gd name="T81" fmla="*/ 2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" h="103">
                  <a:moveTo>
                    <a:pt x="62" y="9"/>
                  </a:moveTo>
                  <a:cubicBezTo>
                    <a:pt x="57" y="10"/>
                    <a:pt x="57" y="10"/>
                    <a:pt x="57" y="10"/>
                  </a:cubicBezTo>
                  <a:cubicBezTo>
                    <a:pt x="60" y="12"/>
                    <a:pt x="62" y="17"/>
                    <a:pt x="62" y="24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40"/>
                    <a:pt x="52" y="49"/>
                    <a:pt x="31" y="49"/>
                  </a:cubicBezTo>
                  <a:cubicBezTo>
                    <a:pt x="24" y="49"/>
                    <a:pt x="19" y="48"/>
                    <a:pt x="15" y="46"/>
                  </a:cubicBezTo>
                  <a:cubicBezTo>
                    <a:pt x="13" y="47"/>
                    <a:pt x="12" y="49"/>
                    <a:pt x="12" y="51"/>
                  </a:cubicBezTo>
                  <a:cubicBezTo>
                    <a:pt x="12" y="53"/>
                    <a:pt x="13" y="54"/>
                    <a:pt x="16" y="55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50" y="64"/>
                    <a:pt x="63" y="68"/>
                    <a:pt x="63" y="81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95"/>
                    <a:pt x="54" y="103"/>
                    <a:pt x="32" y="103"/>
                  </a:cubicBezTo>
                  <a:cubicBezTo>
                    <a:pt x="10" y="103"/>
                    <a:pt x="0" y="9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72"/>
                    <a:pt x="4" y="66"/>
                    <a:pt x="9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3" y="60"/>
                    <a:pt x="1" y="56"/>
                    <a:pt x="1" y="51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1" y="47"/>
                    <a:pt x="3" y="43"/>
                    <a:pt x="7" y="41"/>
                  </a:cubicBezTo>
                  <a:cubicBezTo>
                    <a:pt x="3" y="37"/>
                    <a:pt x="1" y="32"/>
                    <a:pt x="1" y="25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12"/>
                    <a:pt x="7" y="0"/>
                    <a:pt x="31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5" y="1"/>
                    <a:pt x="65" y="3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8"/>
                    <a:pt x="64" y="9"/>
                    <a:pt x="62" y="9"/>
                  </a:cubicBezTo>
                  <a:close/>
                  <a:moveTo>
                    <a:pt x="51" y="81"/>
                  </a:moveTo>
                  <a:cubicBezTo>
                    <a:pt x="51" y="75"/>
                    <a:pt x="47" y="73"/>
                    <a:pt x="34" y="7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5" y="69"/>
                    <a:pt x="12" y="73"/>
                    <a:pt x="12" y="80"/>
                  </a:cubicBezTo>
                  <a:cubicBezTo>
                    <a:pt x="12" y="81"/>
                    <a:pt x="12" y="81"/>
                    <a:pt x="12" y="81"/>
                  </a:cubicBezTo>
                  <a:cubicBezTo>
                    <a:pt x="12" y="89"/>
                    <a:pt x="16" y="94"/>
                    <a:pt x="32" y="94"/>
                  </a:cubicBezTo>
                  <a:cubicBezTo>
                    <a:pt x="47" y="94"/>
                    <a:pt x="51" y="89"/>
                    <a:pt x="51" y="82"/>
                  </a:cubicBezTo>
                  <a:lnTo>
                    <a:pt x="51" y="81"/>
                  </a:lnTo>
                  <a:close/>
                  <a:moveTo>
                    <a:pt x="50" y="24"/>
                  </a:moveTo>
                  <a:cubicBezTo>
                    <a:pt x="50" y="16"/>
                    <a:pt x="46" y="9"/>
                    <a:pt x="31" y="9"/>
                  </a:cubicBezTo>
                  <a:cubicBezTo>
                    <a:pt x="16" y="9"/>
                    <a:pt x="13" y="16"/>
                    <a:pt x="13" y="24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31"/>
                    <a:pt x="15" y="39"/>
                    <a:pt x="31" y="39"/>
                  </a:cubicBezTo>
                  <a:cubicBezTo>
                    <a:pt x="46" y="39"/>
                    <a:pt x="50" y="33"/>
                    <a:pt x="50" y="25"/>
                  </a:cubicBezTo>
                  <a:lnTo>
                    <a:pt x="5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" name="Freeform 12"/>
            <p:cNvSpPr>
              <a:spLocks noEditPoints="1"/>
            </p:cNvSpPr>
            <p:nvPr/>
          </p:nvSpPr>
          <p:spPr bwMode="auto">
            <a:xfrm>
              <a:off x="-614362" y="3222625"/>
              <a:ext cx="25400" cy="196850"/>
            </a:xfrm>
            <a:custGeom>
              <a:avLst/>
              <a:gdLst>
                <a:gd name="T0" fmla="*/ 10 w 13"/>
                <a:gd name="T1" fmla="*/ 16 h 105"/>
                <a:gd name="T2" fmla="*/ 3 w 13"/>
                <a:gd name="T3" fmla="*/ 16 h 105"/>
                <a:gd name="T4" fmla="*/ 0 w 13"/>
                <a:gd name="T5" fmla="*/ 14 h 105"/>
                <a:gd name="T6" fmla="*/ 0 w 13"/>
                <a:gd name="T7" fmla="*/ 3 h 105"/>
                <a:gd name="T8" fmla="*/ 3 w 13"/>
                <a:gd name="T9" fmla="*/ 0 h 105"/>
                <a:gd name="T10" fmla="*/ 10 w 13"/>
                <a:gd name="T11" fmla="*/ 0 h 105"/>
                <a:gd name="T12" fmla="*/ 13 w 13"/>
                <a:gd name="T13" fmla="*/ 3 h 105"/>
                <a:gd name="T14" fmla="*/ 13 w 13"/>
                <a:gd name="T15" fmla="*/ 14 h 105"/>
                <a:gd name="T16" fmla="*/ 10 w 13"/>
                <a:gd name="T17" fmla="*/ 16 h 105"/>
                <a:gd name="T18" fmla="*/ 10 w 13"/>
                <a:gd name="T19" fmla="*/ 105 h 105"/>
                <a:gd name="T20" fmla="*/ 3 w 13"/>
                <a:gd name="T21" fmla="*/ 105 h 105"/>
                <a:gd name="T22" fmla="*/ 1 w 13"/>
                <a:gd name="T23" fmla="*/ 102 h 105"/>
                <a:gd name="T24" fmla="*/ 1 w 13"/>
                <a:gd name="T25" fmla="*/ 31 h 105"/>
                <a:gd name="T26" fmla="*/ 3 w 13"/>
                <a:gd name="T27" fmla="*/ 29 h 105"/>
                <a:gd name="T28" fmla="*/ 10 w 13"/>
                <a:gd name="T29" fmla="*/ 29 h 105"/>
                <a:gd name="T30" fmla="*/ 13 w 13"/>
                <a:gd name="T31" fmla="*/ 31 h 105"/>
                <a:gd name="T32" fmla="*/ 13 w 13"/>
                <a:gd name="T33" fmla="*/ 102 h 105"/>
                <a:gd name="T34" fmla="*/ 10 w 13"/>
                <a:gd name="T3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" h="105">
                  <a:moveTo>
                    <a:pt x="10" y="16"/>
                  </a:moveTo>
                  <a:cubicBezTo>
                    <a:pt x="3" y="16"/>
                    <a:pt x="3" y="16"/>
                    <a:pt x="3" y="16"/>
                  </a:cubicBezTo>
                  <a:cubicBezTo>
                    <a:pt x="2" y="16"/>
                    <a:pt x="0" y="15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3" y="1"/>
                    <a:pt x="13" y="3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2" y="16"/>
                    <a:pt x="10" y="16"/>
                  </a:cubicBezTo>
                  <a:close/>
                  <a:moveTo>
                    <a:pt x="10" y="105"/>
                  </a:moveTo>
                  <a:cubicBezTo>
                    <a:pt x="3" y="105"/>
                    <a:pt x="3" y="105"/>
                    <a:pt x="3" y="105"/>
                  </a:cubicBezTo>
                  <a:cubicBezTo>
                    <a:pt x="2" y="105"/>
                    <a:pt x="1" y="103"/>
                    <a:pt x="1" y="102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0"/>
                    <a:pt x="2" y="29"/>
                    <a:pt x="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1" y="29"/>
                    <a:pt x="13" y="30"/>
                    <a:pt x="13" y="31"/>
                  </a:cubicBezTo>
                  <a:cubicBezTo>
                    <a:pt x="13" y="102"/>
                    <a:pt x="13" y="102"/>
                    <a:pt x="13" y="102"/>
                  </a:cubicBezTo>
                  <a:cubicBezTo>
                    <a:pt x="13" y="103"/>
                    <a:pt x="11" y="105"/>
                    <a:pt x="10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" name="Freeform 13"/>
            <p:cNvSpPr/>
            <p:nvPr/>
          </p:nvSpPr>
          <p:spPr bwMode="auto">
            <a:xfrm>
              <a:off x="-555625" y="3275013"/>
              <a:ext cx="92075" cy="147637"/>
            </a:xfrm>
            <a:custGeom>
              <a:avLst/>
              <a:gdLst>
                <a:gd name="T0" fmla="*/ 46 w 49"/>
                <a:gd name="T1" fmla="*/ 76 h 78"/>
                <a:gd name="T2" fmla="*/ 29 w 49"/>
                <a:gd name="T3" fmla="*/ 78 h 78"/>
                <a:gd name="T4" fmla="*/ 0 w 49"/>
                <a:gd name="T5" fmla="*/ 44 h 78"/>
                <a:gd name="T6" fmla="*/ 0 w 49"/>
                <a:gd name="T7" fmla="*/ 33 h 78"/>
                <a:gd name="T8" fmla="*/ 29 w 49"/>
                <a:gd name="T9" fmla="*/ 0 h 78"/>
                <a:gd name="T10" fmla="*/ 46 w 49"/>
                <a:gd name="T11" fmla="*/ 1 h 78"/>
                <a:gd name="T12" fmla="*/ 49 w 49"/>
                <a:gd name="T13" fmla="*/ 4 h 78"/>
                <a:gd name="T14" fmla="*/ 49 w 49"/>
                <a:gd name="T15" fmla="*/ 9 h 78"/>
                <a:gd name="T16" fmla="*/ 47 w 49"/>
                <a:gd name="T17" fmla="*/ 11 h 78"/>
                <a:gd name="T18" fmla="*/ 46 w 49"/>
                <a:gd name="T19" fmla="*/ 11 h 78"/>
                <a:gd name="T20" fmla="*/ 29 w 49"/>
                <a:gd name="T21" fmla="*/ 10 h 78"/>
                <a:gd name="T22" fmla="*/ 12 w 49"/>
                <a:gd name="T23" fmla="*/ 33 h 78"/>
                <a:gd name="T24" fmla="*/ 12 w 49"/>
                <a:gd name="T25" fmla="*/ 44 h 78"/>
                <a:gd name="T26" fmla="*/ 29 w 49"/>
                <a:gd name="T27" fmla="*/ 67 h 78"/>
                <a:gd name="T28" fmla="*/ 46 w 49"/>
                <a:gd name="T29" fmla="*/ 66 h 78"/>
                <a:gd name="T30" fmla="*/ 47 w 49"/>
                <a:gd name="T31" fmla="*/ 66 h 78"/>
                <a:gd name="T32" fmla="*/ 49 w 49"/>
                <a:gd name="T33" fmla="*/ 68 h 78"/>
                <a:gd name="T34" fmla="*/ 49 w 49"/>
                <a:gd name="T35" fmla="*/ 73 h 78"/>
                <a:gd name="T36" fmla="*/ 46 w 49"/>
                <a:gd name="T37" fmla="*/ 7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" h="78">
                  <a:moveTo>
                    <a:pt x="46" y="76"/>
                  </a:moveTo>
                  <a:cubicBezTo>
                    <a:pt x="42" y="77"/>
                    <a:pt x="36" y="78"/>
                    <a:pt x="29" y="78"/>
                  </a:cubicBezTo>
                  <a:cubicBezTo>
                    <a:pt x="10" y="78"/>
                    <a:pt x="0" y="64"/>
                    <a:pt x="0" y="4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3"/>
                    <a:pt x="10" y="0"/>
                    <a:pt x="29" y="0"/>
                  </a:cubicBezTo>
                  <a:cubicBezTo>
                    <a:pt x="35" y="0"/>
                    <a:pt x="42" y="0"/>
                    <a:pt x="46" y="1"/>
                  </a:cubicBezTo>
                  <a:cubicBezTo>
                    <a:pt x="49" y="2"/>
                    <a:pt x="49" y="2"/>
                    <a:pt x="49" y="4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9" y="11"/>
                    <a:pt x="48" y="11"/>
                    <a:pt x="47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0" y="11"/>
                    <a:pt x="36" y="10"/>
                    <a:pt x="29" y="10"/>
                  </a:cubicBezTo>
                  <a:cubicBezTo>
                    <a:pt x="18" y="10"/>
                    <a:pt x="12" y="18"/>
                    <a:pt x="12" y="3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59"/>
                    <a:pt x="18" y="67"/>
                    <a:pt x="29" y="67"/>
                  </a:cubicBezTo>
                  <a:cubicBezTo>
                    <a:pt x="36" y="67"/>
                    <a:pt x="40" y="67"/>
                    <a:pt x="46" y="66"/>
                  </a:cubicBezTo>
                  <a:cubicBezTo>
                    <a:pt x="46" y="66"/>
                    <a:pt x="46" y="66"/>
                    <a:pt x="47" y="66"/>
                  </a:cubicBezTo>
                  <a:cubicBezTo>
                    <a:pt x="48" y="66"/>
                    <a:pt x="49" y="67"/>
                    <a:pt x="49" y="68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5"/>
                    <a:pt x="49" y="76"/>
                    <a:pt x="46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" name="Freeform 14"/>
            <p:cNvSpPr>
              <a:spLocks noEditPoints="1"/>
            </p:cNvSpPr>
            <p:nvPr/>
          </p:nvSpPr>
          <p:spPr bwMode="auto">
            <a:xfrm>
              <a:off x="-374650" y="3275013"/>
              <a:ext cx="115888" cy="147637"/>
            </a:xfrm>
            <a:custGeom>
              <a:avLst/>
              <a:gdLst>
                <a:gd name="T0" fmla="*/ 31 w 62"/>
                <a:gd name="T1" fmla="*/ 78 h 78"/>
                <a:gd name="T2" fmla="*/ 0 w 62"/>
                <a:gd name="T3" fmla="*/ 44 h 78"/>
                <a:gd name="T4" fmla="*/ 0 w 62"/>
                <a:gd name="T5" fmla="*/ 33 h 78"/>
                <a:gd name="T6" fmla="*/ 31 w 62"/>
                <a:gd name="T7" fmla="*/ 0 h 78"/>
                <a:gd name="T8" fmla="*/ 62 w 62"/>
                <a:gd name="T9" fmla="*/ 33 h 78"/>
                <a:gd name="T10" fmla="*/ 62 w 62"/>
                <a:gd name="T11" fmla="*/ 44 h 78"/>
                <a:gd name="T12" fmla="*/ 31 w 62"/>
                <a:gd name="T13" fmla="*/ 78 h 78"/>
                <a:gd name="T14" fmla="*/ 50 w 62"/>
                <a:gd name="T15" fmla="*/ 33 h 78"/>
                <a:gd name="T16" fmla="*/ 31 w 62"/>
                <a:gd name="T17" fmla="*/ 10 h 78"/>
                <a:gd name="T18" fmla="*/ 12 w 62"/>
                <a:gd name="T19" fmla="*/ 33 h 78"/>
                <a:gd name="T20" fmla="*/ 12 w 62"/>
                <a:gd name="T21" fmla="*/ 44 h 78"/>
                <a:gd name="T22" fmla="*/ 31 w 62"/>
                <a:gd name="T23" fmla="*/ 67 h 78"/>
                <a:gd name="T24" fmla="*/ 50 w 62"/>
                <a:gd name="T25" fmla="*/ 44 h 78"/>
                <a:gd name="T26" fmla="*/ 50 w 62"/>
                <a:gd name="T27" fmla="*/ 3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2" h="78">
                  <a:moveTo>
                    <a:pt x="31" y="78"/>
                  </a:moveTo>
                  <a:cubicBezTo>
                    <a:pt x="11" y="78"/>
                    <a:pt x="0" y="64"/>
                    <a:pt x="0" y="4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3"/>
                    <a:pt x="11" y="0"/>
                    <a:pt x="31" y="0"/>
                  </a:cubicBezTo>
                  <a:cubicBezTo>
                    <a:pt x="51" y="0"/>
                    <a:pt x="62" y="13"/>
                    <a:pt x="62" y="3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64"/>
                    <a:pt x="51" y="78"/>
                    <a:pt x="31" y="78"/>
                  </a:cubicBezTo>
                  <a:close/>
                  <a:moveTo>
                    <a:pt x="50" y="33"/>
                  </a:moveTo>
                  <a:cubicBezTo>
                    <a:pt x="50" y="19"/>
                    <a:pt x="44" y="10"/>
                    <a:pt x="31" y="10"/>
                  </a:cubicBezTo>
                  <a:cubicBezTo>
                    <a:pt x="18" y="10"/>
                    <a:pt x="12" y="19"/>
                    <a:pt x="12" y="3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58"/>
                    <a:pt x="18" y="67"/>
                    <a:pt x="31" y="67"/>
                  </a:cubicBezTo>
                  <a:cubicBezTo>
                    <a:pt x="44" y="67"/>
                    <a:pt x="50" y="58"/>
                    <a:pt x="50" y="44"/>
                  </a:cubicBezTo>
                  <a:lnTo>
                    <a:pt x="5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" name="Freeform 15"/>
            <p:cNvSpPr/>
            <p:nvPr/>
          </p:nvSpPr>
          <p:spPr bwMode="auto">
            <a:xfrm>
              <a:off x="-244475" y="3221038"/>
              <a:ext cx="85725" cy="198437"/>
            </a:xfrm>
            <a:custGeom>
              <a:avLst/>
              <a:gdLst>
                <a:gd name="T0" fmla="*/ 44 w 46"/>
                <a:gd name="T1" fmla="*/ 10 h 106"/>
                <a:gd name="T2" fmla="*/ 37 w 46"/>
                <a:gd name="T3" fmla="*/ 10 h 106"/>
                <a:gd name="T4" fmla="*/ 29 w 46"/>
                <a:gd name="T5" fmla="*/ 20 h 106"/>
                <a:gd name="T6" fmla="*/ 29 w 46"/>
                <a:gd name="T7" fmla="*/ 30 h 106"/>
                <a:gd name="T8" fmla="*/ 43 w 46"/>
                <a:gd name="T9" fmla="*/ 30 h 106"/>
                <a:gd name="T10" fmla="*/ 46 w 46"/>
                <a:gd name="T11" fmla="*/ 32 h 106"/>
                <a:gd name="T12" fmla="*/ 46 w 46"/>
                <a:gd name="T13" fmla="*/ 37 h 106"/>
                <a:gd name="T14" fmla="*/ 43 w 46"/>
                <a:gd name="T15" fmla="*/ 40 h 106"/>
                <a:gd name="T16" fmla="*/ 29 w 46"/>
                <a:gd name="T17" fmla="*/ 40 h 106"/>
                <a:gd name="T18" fmla="*/ 29 w 46"/>
                <a:gd name="T19" fmla="*/ 103 h 106"/>
                <a:gd name="T20" fmla="*/ 26 w 46"/>
                <a:gd name="T21" fmla="*/ 106 h 106"/>
                <a:gd name="T22" fmla="*/ 19 w 46"/>
                <a:gd name="T23" fmla="*/ 106 h 106"/>
                <a:gd name="T24" fmla="*/ 16 w 46"/>
                <a:gd name="T25" fmla="*/ 103 h 106"/>
                <a:gd name="T26" fmla="*/ 16 w 46"/>
                <a:gd name="T27" fmla="*/ 40 h 106"/>
                <a:gd name="T28" fmla="*/ 3 w 46"/>
                <a:gd name="T29" fmla="*/ 38 h 106"/>
                <a:gd name="T30" fmla="*/ 0 w 46"/>
                <a:gd name="T31" fmla="*/ 36 h 106"/>
                <a:gd name="T32" fmla="*/ 0 w 46"/>
                <a:gd name="T33" fmla="*/ 32 h 106"/>
                <a:gd name="T34" fmla="*/ 3 w 46"/>
                <a:gd name="T35" fmla="*/ 30 h 106"/>
                <a:gd name="T36" fmla="*/ 16 w 46"/>
                <a:gd name="T37" fmla="*/ 30 h 106"/>
                <a:gd name="T38" fmla="*/ 16 w 46"/>
                <a:gd name="T39" fmla="*/ 20 h 106"/>
                <a:gd name="T40" fmla="*/ 36 w 46"/>
                <a:gd name="T41" fmla="*/ 0 h 106"/>
                <a:gd name="T42" fmla="*/ 43 w 46"/>
                <a:gd name="T43" fmla="*/ 1 h 106"/>
                <a:gd name="T44" fmla="*/ 46 w 46"/>
                <a:gd name="T45" fmla="*/ 4 h 106"/>
                <a:gd name="T46" fmla="*/ 46 w 46"/>
                <a:gd name="T47" fmla="*/ 8 h 106"/>
                <a:gd name="T48" fmla="*/ 44 w 46"/>
                <a:gd name="T49" fmla="*/ 1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106">
                  <a:moveTo>
                    <a:pt x="44" y="10"/>
                  </a:moveTo>
                  <a:cubicBezTo>
                    <a:pt x="37" y="10"/>
                    <a:pt x="37" y="10"/>
                    <a:pt x="37" y="10"/>
                  </a:cubicBezTo>
                  <a:cubicBezTo>
                    <a:pt x="30" y="10"/>
                    <a:pt x="29" y="12"/>
                    <a:pt x="29" y="2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5" y="30"/>
                    <a:pt x="46" y="31"/>
                    <a:pt x="46" y="32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9"/>
                    <a:pt x="45" y="40"/>
                    <a:pt x="43" y="40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9" y="104"/>
                    <a:pt x="27" y="106"/>
                    <a:pt x="26" y="106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18" y="106"/>
                    <a:pt x="16" y="104"/>
                    <a:pt x="16" y="103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1" y="38"/>
                    <a:pt x="0" y="37"/>
                    <a:pt x="0" y="3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1"/>
                    <a:pt x="1" y="30"/>
                    <a:pt x="3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5"/>
                    <a:pt x="24" y="0"/>
                    <a:pt x="36" y="0"/>
                  </a:cubicBezTo>
                  <a:cubicBezTo>
                    <a:pt x="39" y="0"/>
                    <a:pt x="42" y="1"/>
                    <a:pt x="43" y="1"/>
                  </a:cubicBezTo>
                  <a:cubicBezTo>
                    <a:pt x="45" y="2"/>
                    <a:pt x="46" y="2"/>
                    <a:pt x="46" y="4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10"/>
                    <a:pt x="45" y="10"/>
                    <a:pt x="4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" name="Freeform 16"/>
            <p:cNvSpPr/>
            <p:nvPr/>
          </p:nvSpPr>
          <p:spPr bwMode="auto">
            <a:xfrm>
              <a:off x="-73025" y="3224213"/>
              <a:ext cx="115888" cy="198437"/>
            </a:xfrm>
            <a:custGeom>
              <a:avLst/>
              <a:gdLst>
                <a:gd name="T0" fmla="*/ 28 w 62"/>
                <a:gd name="T1" fmla="*/ 105 h 105"/>
                <a:gd name="T2" fmla="*/ 5 w 62"/>
                <a:gd name="T3" fmla="*/ 103 h 105"/>
                <a:gd name="T4" fmla="*/ 2 w 62"/>
                <a:gd name="T5" fmla="*/ 100 h 105"/>
                <a:gd name="T6" fmla="*/ 2 w 62"/>
                <a:gd name="T7" fmla="*/ 95 h 105"/>
                <a:gd name="T8" fmla="*/ 4 w 62"/>
                <a:gd name="T9" fmla="*/ 92 h 105"/>
                <a:gd name="T10" fmla="*/ 5 w 62"/>
                <a:gd name="T11" fmla="*/ 92 h 105"/>
                <a:gd name="T12" fmla="*/ 28 w 62"/>
                <a:gd name="T13" fmla="*/ 93 h 105"/>
                <a:gd name="T14" fmla="*/ 49 w 62"/>
                <a:gd name="T15" fmla="*/ 77 h 105"/>
                <a:gd name="T16" fmla="*/ 32 w 62"/>
                <a:gd name="T17" fmla="*/ 58 h 105"/>
                <a:gd name="T18" fmla="*/ 19 w 62"/>
                <a:gd name="T19" fmla="*/ 50 h 105"/>
                <a:gd name="T20" fmla="*/ 0 w 62"/>
                <a:gd name="T21" fmla="*/ 24 h 105"/>
                <a:gd name="T22" fmla="*/ 33 w 62"/>
                <a:gd name="T23" fmla="*/ 0 h 105"/>
                <a:gd name="T24" fmla="*/ 57 w 62"/>
                <a:gd name="T25" fmla="*/ 2 h 105"/>
                <a:gd name="T26" fmla="*/ 59 w 62"/>
                <a:gd name="T27" fmla="*/ 4 h 105"/>
                <a:gd name="T28" fmla="*/ 59 w 62"/>
                <a:gd name="T29" fmla="*/ 10 h 105"/>
                <a:gd name="T30" fmla="*/ 57 w 62"/>
                <a:gd name="T31" fmla="*/ 12 h 105"/>
                <a:gd name="T32" fmla="*/ 56 w 62"/>
                <a:gd name="T33" fmla="*/ 12 h 105"/>
                <a:gd name="T34" fmla="*/ 33 w 62"/>
                <a:gd name="T35" fmla="*/ 11 h 105"/>
                <a:gd name="T36" fmla="*/ 12 w 62"/>
                <a:gd name="T37" fmla="*/ 24 h 105"/>
                <a:gd name="T38" fmla="*/ 27 w 62"/>
                <a:gd name="T39" fmla="*/ 41 h 105"/>
                <a:gd name="T40" fmla="*/ 40 w 62"/>
                <a:gd name="T41" fmla="*/ 49 h 105"/>
                <a:gd name="T42" fmla="*/ 62 w 62"/>
                <a:gd name="T43" fmla="*/ 77 h 105"/>
                <a:gd name="T44" fmla="*/ 28 w 62"/>
                <a:gd name="T4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05">
                  <a:moveTo>
                    <a:pt x="28" y="105"/>
                  </a:moveTo>
                  <a:cubicBezTo>
                    <a:pt x="18" y="105"/>
                    <a:pt x="11" y="104"/>
                    <a:pt x="5" y="103"/>
                  </a:cubicBezTo>
                  <a:cubicBezTo>
                    <a:pt x="2" y="102"/>
                    <a:pt x="2" y="102"/>
                    <a:pt x="2" y="100"/>
                  </a:cubicBezTo>
                  <a:cubicBezTo>
                    <a:pt x="2" y="95"/>
                    <a:pt x="2" y="95"/>
                    <a:pt x="2" y="95"/>
                  </a:cubicBezTo>
                  <a:cubicBezTo>
                    <a:pt x="2" y="93"/>
                    <a:pt x="3" y="92"/>
                    <a:pt x="4" y="92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11" y="93"/>
                    <a:pt x="21" y="93"/>
                    <a:pt x="28" y="93"/>
                  </a:cubicBezTo>
                  <a:cubicBezTo>
                    <a:pt x="44" y="93"/>
                    <a:pt x="49" y="87"/>
                    <a:pt x="49" y="77"/>
                  </a:cubicBezTo>
                  <a:cubicBezTo>
                    <a:pt x="49" y="70"/>
                    <a:pt x="45" y="66"/>
                    <a:pt x="32" y="58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6" y="43"/>
                    <a:pt x="0" y="35"/>
                    <a:pt x="0" y="24"/>
                  </a:cubicBezTo>
                  <a:cubicBezTo>
                    <a:pt x="0" y="8"/>
                    <a:pt x="12" y="0"/>
                    <a:pt x="33" y="0"/>
                  </a:cubicBezTo>
                  <a:cubicBezTo>
                    <a:pt x="41" y="0"/>
                    <a:pt x="51" y="1"/>
                    <a:pt x="57" y="2"/>
                  </a:cubicBezTo>
                  <a:cubicBezTo>
                    <a:pt x="58" y="2"/>
                    <a:pt x="59" y="3"/>
                    <a:pt x="59" y="4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1"/>
                    <a:pt x="58" y="12"/>
                    <a:pt x="57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0" y="12"/>
                    <a:pt x="41" y="11"/>
                    <a:pt x="33" y="11"/>
                  </a:cubicBezTo>
                  <a:cubicBezTo>
                    <a:pt x="18" y="11"/>
                    <a:pt x="12" y="14"/>
                    <a:pt x="12" y="24"/>
                  </a:cubicBezTo>
                  <a:cubicBezTo>
                    <a:pt x="12" y="31"/>
                    <a:pt x="17" y="35"/>
                    <a:pt x="27" y="41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56" y="58"/>
                    <a:pt x="62" y="66"/>
                    <a:pt x="62" y="77"/>
                  </a:cubicBezTo>
                  <a:cubicBezTo>
                    <a:pt x="62" y="90"/>
                    <a:pt x="55" y="105"/>
                    <a:pt x="28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" name="Freeform 17"/>
            <p:cNvSpPr>
              <a:spLocks noEditPoints="1"/>
            </p:cNvSpPr>
            <p:nvPr/>
          </p:nvSpPr>
          <p:spPr bwMode="auto">
            <a:xfrm>
              <a:off x="69850" y="3275013"/>
              <a:ext cx="114300" cy="147637"/>
            </a:xfrm>
            <a:custGeom>
              <a:avLst/>
              <a:gdLst>
                <a:gd name="T0" fmla="*/ 30 w 61"/>
                <a:gd name="T1" fmla="*/ 78 h 78"/>
                <a:gd name="T2" fmla="*/ 0 w 61"/>
                <a:gd name="T3" fmla="*/ 44 h 78"/>
                <a:gd name="T4" fmla="*/ 0 w 61"/>
                <a:gd name="T5" fmla="*/ 33 h 78"/>
                <a:gd name="T6" fmla="*/ 30 w 61"/>
                <a:gd name="T7" fmla="*/ 0 h 78"/>
                <a:gd name="T8" fmla="*/ 61 w 61"/>
                <a:gd name="T9" fmla="*/ 33 h 78"/>
                <a:gd name="T10" fmla="*/ 61 w 61"/>
                <a:gd name="T11" fmla="*/ 44 h 78"/>
                <a:gd name="T12" fmla="*/ 30 w 61"/>
                <a:gd name="T13" fmla="*/ 78 h 78"/>
                <a:gd name="T14" fmla="*/ 49 w 61"/>
                <a:gd name="T15" fmla="*/ 33 h 78"/>
                <a:gd name="T16" fmla="*/ 30 w 61"/>
                <a:gd name="T17" fmla="*/ 10 h 78"/>
                <a:gd name="T18" fmla="*/ 12 w 61"/>
                <a:gd name="T19" fmla="*/ 33 h 78"/>
                <a:gd name="T20" fmla="*/ 12 w 61"/>
                <a:gd name="T21" fmla="*/ 44 h 78"/>
                <a:gd name="T22" fmla="*/ 30 w 61"/>
                <a:gd name="T23" fmla="*/ 67 h 78"/>
                <a:gd name="T24" fmla="*/ 49 w 61"/>
                <a:gd name="T25" fmla="*/ 44 h 78"/>
                <a:gd name="T26" fmla="*/ 49 w 61"/>
                <a:gd name="T27" fmla="*/ 3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78">
                  <a:moveTo>
                    <a:pt x="30" y="78"/>
                  </a:moveTo>
                  <a:cubicBezTo>
                    <a:pt x="10" y="78"/>
                    <a:pt x="0" y="64"/>
                    <a:pt x="0" y="4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3"/>
                    <a:pt x="10" y="0"/>
                    <a:pt x="30" y="0"/>
                  </a:cubicBezTo>
                  <a:cubicBezTo>
                    <a:pt x="51" y="0"/>
                    <a:pt x="61" y="13"/>
                    <a:pt x="61" y="33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1" y="64"/>
                    <a:pt x="51" y="78"/>
                    <a:pt x="30" y="78"/>
                  </a:cubicBezTo>
                  <a:close/>
                  <a:moveTo>
                    <a:pt x="49" y="33"/>
                  </a:moveTo>
                  <a:cubicBezTo>
                    <a:pt x="49" y="19"/>
                    <a:pt x="43" y="10"/>
                    <a:pt x="30" y="10"/>
                  </a:cubicBezTo>
                  <a:cubicBezTo>
                    <a:pt x="17" y="10"/>
                    <a:pt x="12" y="19"/>
                    <a:pt x="12" y="3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58"/>
                    <a:pt x="17" y="67"/>
                    <a:pt x="30" y="67"/>
                  </a:cubicBezTo>
                  <a:cubicBezTo>
                    <a:pt x="43" y="67"/>
                    <a:pt x="49" y="58"/>
                    <a:pt x="49" y="44"/>
                  </a:cubicBezTo>
                  <a:lnTo>
                    <a:pt x="49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" name="Freeform 18"/>
            <p:cNvSpPr/>
            <p:nvPr/>
          </p:nvSpPr>
          <p:spPr bwMode="auto">
            <a:xfrm>
              <a:off x="198438" y="3221038"/>
              <a:ext cx="85725" cy="198437"/>
            </a:xfrm>
            <a:custGeom>
              <a:avLst/>
              <a:gdLst>
                <a:gd name="T0" fmla="*/ 43 w 45"/>
                <a:gd name="T1" fmla="*/ 10 h 106"/>
                <a:gd name="T2" fmla="*/ 36 w 45"/>
                <a:gd name="T3" fmla="*/ 10 h 106"/>
                <a:gd name="T4" fmla="*/ 28 w 45"/>
                <a:gd name="T5" fmla="*/ 20 h 106"/>
                <a:gd name="T6" fmla="*/ 28 w 45"/>
                <a:gd name="T7" fmla="*/ 30 h 106"/>
                <a:gd name="T8" fmla="*/ 42 w 45"/>
                <a:gd name="T9" fmla="*/ 30 h 106"/>
                <a:gd name="T10" fmla="*/ 45 w 45"/>
                <a:gd name="T11" fmla="*/ 32 h 106"/>
                <a:gd name="T12" fmla="*/ 45 w 45"/>
                <a:gd name="T13" fmla="*/ 37 h 106"/>
                <a:gd name="T14" fmla="*/ 42 w 45"/>
                <a:gd name="T15" fmla="*/ 40 h 106"/>
                <a:gd name="T16" fmla="*/ 28 w 45"/>
                <a:gd name="T17" fmla="*/ 40 h 106"/>
                <a:gd name="T18" fmla="*/ 28 w 45"/>
                <a:gd name="T19" fmla="*/ 103 h 106"/>
                <a:gd name="T20" fmla="*/ 25 w 45"/>
                <a:gd name="T21" fmla="*/ 106 h 106"/>
                <a:gd name="T22" fmla="*/ 18 w 45"/>
                <a:gd name="T23" fmla="*/ 106 h 106"/>
                <a:gd name="T24" fmla="*/ 16 w 45"/>
                <a:gd name="T25" fmla="*/ 103 h 106"/>
                <a:gd name="T26" fmla="*/ 16 w 45"/>
                <a:gd name="T27" fmla="*/ 40 h 106"/>
                <a:gd name="T28" fmla="*/ 2 w 45"/>
                <a:gd name="T29" fmla="*/ 38 h 106"/>
                <a:gd name="T30" fmla="*/ 0 w 45"/>
                <a:gd name="T31" fmla="*/ 36 h 106"/>
                <a:gd name="T32" fmla="*/ 0 w 45"/>
                <a:gd name="T33" fmla="*/ 32 h 106"/>
                <a:gd name="T34" fmla="*/ 2 w 45"/>
                <a:gd name="T35" fmla="*/ 30 h 106"/>
                <a:gd name="T36" fmla="*/ 16 w 45"/>
                <a:gd name="T37" fmla="*/ 30 h 106"/>
                <a:gd name="T38" fmla="*/ 16 w 45"/>
                <a:gd name="T39" fmla="*/ 20 h 106"/>
                <a:gd name="T40" fmla="*/ 35 w 45"/>
                <a:gd name="T41" fmla="*/ 0 h 106"/>
                <a:gd name="T42" fmla="*/ 43 w 45"/>
                <a:gd name="T43" fmla="*/ 1 h 106"/>
                <a:gd name="T44" fmla="*/ 45 w 45"/>
                <a:gd name="T45" fmla="*/ 4 h 106"/>
                <a:gd name="T46" fmla="*/ 45 w 45"/>
                <a:gd name="T47" fmla="*/ 8 h 106"/>
                <a:gd name="T48" fmla="*/ 43 w 45"/>
                <a:gd name="T49" fmla="*/ 1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5" h="106">
                  <a:moveTo>
                    <a:pt x="43" y="10"/>
                  </a:moveTo>
                  <a:cubicBezTo>
                    <a:pt x="36" y="10"/>
                    <a:pt x="36" y="10"/>
                    <a:pt x="36" y="10"/>
                  </a:cubicBezTo>
                  <a:cubicBezTo>
                    <a:pt x="30" y="10"/>
                    <a:pt x="28" y="12"/>
                    <a:pt x="28" y="2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4" y="30"/>
                    <a:pt x="45" y="31"/>
                    <a:pt x="45" y="32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9"/>
                    <a:pt x="44" y="40"/>
                    <a:pt x="42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4"/>
                    <a:pt x="27" y="106"/>
                    <a:pt x="25" y="106"/>
                  </a:cubicBezTo>
                  <a:cubicBezTo>
                    <a:pt x="18" y="106"/>
                    <a:pt x="18" y="106"/>
                    <a:pt x="18" y="106"/>
                  </a:cubicBezTo>
                  <a:cubicBezTo>
                    <a:pt x="17" y="106"/>
                    <a:pt x="16" y="104"/>
                    <a:pt x="16" y="103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8"/>
                    <a:pt x="0" y="37"/>
                    <a:pt x="0" y="3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1"/>
                    <a:pt x="1" y="30"/>
                    <a:pt x="2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5"/>
                    <a:pt x="23" y="0"/>
                    <a:pt x="35" y="0"/>
                  </a:cubicBezTo>
                  <a:cubicBezTo>
                    <a:pt x="39" y="0"/>
                    <a:pt x="41" y="1"/>
                    <a:pt x="43" y="1"/>
                  </a:cubicBezTo>
                  <a:cubicBezTo>
                    <a:pt x="44" y="2"/>
                    <a:pt x="45" y="2"/>
                    <a:pt x="45" y="4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10"/>
                    <a:pt x="44" y="10"/>
                    <a:pt x="4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" name="Freeform 19"/>
            <p:cNvSpPr/>
            <p:nvPr/>
          </p:nvSpPr>
          <p:spPr bwMode="auto">
            <a:xfrm>
              <a:off x="296863" y="3243263"/>
              <a:ext cx="88900" cy="179387"/>
            </a:xfrm>
            <a:custGeom>
              <a:avLst/>
              <a:gdLst>
                <a:gd name="T0" fmla="*/ 44 w 47"/>
                <a:gd name="T1" fmla="*/ 94 h 95"/>
                <a:gd name="T2" fmla="*/ 35 w 47"/>
                <a:gd name="T3" fmla="*/ 95 h 95"/>
                <a:gd name="T4" fmla="*/ 16 w 47"/>
                <a:gd name="T5" fmla="*/ 76 h 95"/>
                <a:gd name="T6" fmla="*/ 16 w 47"/>
                <a:gd name="T7" fmla="*/ 28 h 95"/>
                <a:gd name="T8" fmla="*/ 3 w 47"/>
                <a:gd name="T9" fmla="*/ 26 h 95"/>
                <a:gd name="T10" fmla="*/ 0 w 47"/>
                <a:gd name="T11" fmla="*/ 24 h 95"/>
                <a:gd name="T12" fmla="*/ 0 w 47"/>
                <a:gd name="T13" fmla="*/ 20 h 95"/>
                <a:gd name="T14" fmla="*/ 3 w 47"/>
                <a:gd name="T15" fmla="*/ 18 h 95"/>
                <a:gd name="T16" fmla="*/ 16 w 47"/>
                <a:gd name="T17" fmla="*/ 18 h 95"/>
                <a:gd name="T18" fmla="*/ 16 w 47"/>
                <a:gd name="T19" fmla="*/ 4 h 95"/>
                <a:gd name="T20" fmla="*/ 19 w 47"/>
                <a:gd name="T21" fmla="*/ 1 h 95"/>
                <a:gd name="T22" fmla="*/ 26 w 47"/>
                <a:gd name="T23" fmla="*/ 0 h 95"/>
                <a:gd name="T24" fmla="*/ 26 w 47"/>
                <a:gd name="T25" fmla="*/ 0 h 95"/>
                <a:gd name="T26" fmla="*/ 28 w 47"/>
                <a:gd name="T27" fmla="*/ 3 h 95"/>
                <a:gd name="T28" fmla="*/ 28 w 47"/>
                <a:gd name="T29" fmla="*/ 18 h 95"/>
                <a:gd name="T30" fmla="*/ 43 w 47"/>
                <a:gd name="T31" fmla="*/ 18 h 95"/>
                <a:gd name="T32" fmla="*/ 46 w 47"/>
                <a:gd name="T33" fmla="*/ 20 h 95"/>
                <a:gd name="T34" fmla="*/ 46 w 47"/>
                <a:gd name="T35" fmla="*/ 25 h 95"/>
                <a:gd name="T36" fmla="*/ 43 w 47"/>
                <a:gd name="T37" fmla="*/ 28 h 95"/>
                <a:gd name="T38" fmla="*/ 28 w 47"/>
                <a:gd name="T39" fmla="*/ 28 h 95"/>
                <a:gd name="T40" fmla="*/ 28 w 47"/>
                <a:gd name="T41" fmla="*/ 76 h 95"/>
                <a:gd name="T42" fmla="*/ 36 w 47"/>
                <a:gd name="T43" fmla="*/ 85 h 95"/>
                <a:gd name="T44" fmla="*/ 44 w 47"/>
                <a:gd name="T45" fmla="*/ 85 h 95"/>
                <a:gd name="T46" fmla="*/ 47 w 47"/>
                <a:gd name="T47" fmla="*/ 87 h 95"/>
                <a:gd name="T48" fmla="*/ 47 w 47"/>
                <a:gd name="T49" fmla="*/ 92 h 95"/>
                <a:gd name="T50" fmla="*/ 44 w 47"/>
                <a:gd name="T51" fmla="*/ 94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7" h="95">
                  <a:moveTo>
                    <a:pt x="44" y="94"/>
                  </a:moveTo>
                  <a:cubicBezTo>
                    <a:pt x="41" y="94"/>
                    <a:pt x="38" y="95"/>
                    <a:pt x="35" y="95"/>
                  </a:cubicBezTo>
                  <a:cubicBezTo>
                    <a:pt x="22" y="95"/>
                    <a:pt x="16" y="91"/>
                    <a:pt x="16" y="76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1" y="26"/>
                    <a:pt x="0" y="25"/>
                    <a:pt x="0" y="2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9"/>
                    <a:pt x="1" y="18"/>
                    <a:pt x="3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3"/>
                    <a:pt x="17" y="2"/>
                    <a:pt x="19" y="1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3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45" y="18"/>
                    <a:pt x="46" y="19"/>
                    <a:pt x="46" y="20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7"/>
                    <a:pt x="45" y="28"/>
                    <a:pt x="43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84"/>
                    <a:pt x="30" y="85"/>
                    <a:pt x="36" y="85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6" y="85"/>
                    <a:pt x="47" y="85"/>
                    <a:pt x="47" y="87"/>
                  </a:cubicBezTo>
                  <a:cubicBezTo>
                    <a:pt x="47" y="92"/>
                    <a:pt x="47" y="92"/>
                    <a:pt x="47" y="92"/>
                  </a:cubicBezTo>
                  <a:cubicBezTo>
                    <a:pt x="47" y="93"/>
                    <a:pt x="46" y="94"/>
                    <a:pt x="44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" name="Freeform 20"/>
            <p:cNvSpPr/>
            <p:nvPr/>
          </p:nvSpPr>
          <p:spPr bwMode="auto">
            <a:xfrm>
              <a:off x="400050" y="3276600"/>
              <a:ext cx="184150" cy="146050"/>
            </a:xfrm>
            <a:custGeom>
              <a:avLst/>
              <a:gdLst>
                <a:gd name="T0" fmla="*/ 98 w 98"/>
                <a:gd name="T1" fmla="*/ 3 h 77"/>
                <a:gd name="T2" fmla="*/ 85 w 98"/>
                <a:gd name="T3" fmla="*/ 67 h 77"/>
                <a:gd name="T4" fmla="*/ 73 w 98"/>
                <a:gd name="T5" fmla="*/ 77 h 77"/>
                <a:gd name="T6" fmla="*/ 62 w 98"/>
                <a:gd name="T7" fmla="*/ 67 h 77"/>
                <a:gd name="T8" fmla="*/ 50 w 98"/>
                <a:gd name="T9" fmla="*/ 20 h 77"/>
                <a:gd name="T10" fmla="*/ 49 w 98"/>
                <a:gd name="T11" fmla="*/ 19 h 77"/>
                <a:gd name="T12" fmla="*/ 49 w 98"/>
                <a:gd name="T13" fmla="*/ 20 h 77"/>
                <a:gd name="T14" fmla="*/ 37 w 98"/>
                <a:gd name="T15" fmla="*/ 67 h 77"/>
                <a:gd name="T16" fmla="*/ 25 w 98"/>
                <a:gd name="T17" fmla="*/ 77 h 77"/>
                <a:gd name="T18" fmla="*/ 14 w 98"/>
                <a:gd name="T19" fmla="*/ 67 h 77"/>
                <a:gd name="T20" fmla="*/ 0 w 98"/>
                <a:gd name="T21" fmla="*/ 3 h 77"/>
                <a:gd name="T22" fmla="*/ 0 w 98"/>
                <a:gd name="T23" fmla="*/ 2 h 77"/>
                <a:gd name="T24" fmla="*/ 3 w 98"/>
                <a:gd name="T25" fmla="*/ 0 h 77"/>
                <a:gd name="T26" fmla="*/ 10 w 98"/>
                <a:gd name="T27" fmla="*/ 0 h 77"/>
                <a:gd name="T28" fmla="*/ 13 w 98"/>
                <a:gd name="T29" fmla="*/ 2 h 77"/>
                <a:gd name="T30" fmla="*/ 24 w 98"/>
                <a:gd name="T31" fmla="*/ 65 h 77"/>
                <a:gd name="T32" fmla="*/ 25 w 98"/>
                <a:gd name="T33" fmla="*/ 66 h 77"/>
                <a:gd name="T34" fmla="*/ 26 w 98"/>
                <a:gd name="T35" fmla="*/ 65 h 77"/>
                <a:gd name="T36" fmla="*/ 40 w 98"/>
                <a:gd name="T37" fmla="*/ 12 h 77"/>
                <a:gd name="T38" fmla="*/ 45 w 98"/>
                <a:gd name="T39" fmla="*/ 8 h 77"/>
                <a:gd name="T40" fmla="*/ 53 w 98"/>
                <a:gd name="T41" fmla="*/ 8 h 77"/>
                <a:gd name="T42" fmla="*/ 59 w 98"/>
                <a:gd name="T43" fmla="*/ 12 h 77"/>
                <a:gd name="T44" fmla="*/ 72 w 98"/>
                <a:gd name="T45" fmla="*/ 65 h 77"/>
                <a:gd name="T46" fmla="*/ 73 w 98"/>
                <a:gd name="T47" fmla="*/ 66 h 77"/>
                <a:gd name="T48" fmla="*/ 74 w 98"/>
                <a:gd name="T49" fmla="*/ 65 h 77"/>
                <a:gd name="T50" fmla="*/ 86 w 98"/>
                <a:gd name="T51" fmla="*/ 2 h 77"/>
                <a:gd name="T52" fmla="*/ 88 w 98"/>
                <a:gd name="T53" fmla="*/ 0 h 77"/>
                <a:gd name="T54" fmla="*/ 96 w 98"/>
                <a:gd name="T55" fmla="*/ 0 h 77"/>
                <a:gd name="T56" fmla="*/ 98 w 98"/>
                <a:gd name="T57" fmla="*/ 2 h 77"/>
                <a:gd name="T58" fmla="*/ 98 w 98"/>
                <a:gd name="T59" fmla="*/ 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8" h="77">
                  <a:moveTo>
                    <a:pt x="98" y="3"/>
                  </a:moveTo>
                  <a:cubicBezTo>
                    <a:pt x="85" y="67"/>
                    <a:pt x="85" y="67"/>
                    <a:pt x="85" y="67"/>
                  </a:cubicBezTo>
                  <a:cubicBezTo>
                    <a:pt x="83" y="76"/>
                    <a:pt x="82" y="77"/>
                    <a:pt x="73" y="77"/>
                  </a:cubicBezTo>
                  <a:cubicBezTo>
                    <a:pt x="66" y="77"/>
                    <a:pt x="64" y="75"/>
                    <a:pt x="62" y="67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19"/>
                    <a:pt x="50" y="19"/>
                    <a:pt x="49" y="19"/>
                  </a:cubicBezTo>
                  <a:cubicBezTo>
                    <a:pt x="49" y="19"/>
                    <a:pt x="49" y="19"/>
                    <a:pt x="49" y="20"/>
                  </a:cubicBezTo>
                  <a:cubicBezTo>
                    <a:pt x="37" y="67"/>
                    <a:pt x="37" y="67"/>
                    <a:pt x="37" y="67"/>
                  </a:cubicBezTo>
                  <a:cubicBezTo>
                    <a:pt x="35" y="75"/>
                    <a:pt x="32" y="77"/>
                    <a:pt x="25" y="77"/>
                  </a:cubicBezTo>
                  <a:cubicBezTo>
                    <a:pt x="17" y="77"/>
                    <a:pt x="15" y="76"/>
                    <a:pt x="14" y="6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3" y="1"/>
                    <a:pt x="13" y="2"/>
                  </a:cubicBezTo>
                  <a:cubicBezTo>
                    <a:pt x="24" y="65"/>
                    <a:pt x="24" y="65"/>
                    <a:pt x="24" y="65"/>
                  </a:cubicBezTo>
                  <a:cubicBezTo>
                    <a:pt x="24" y="66"/>
                    <a:pt x="25" y="66"/>
                    <a:pt x="25" y="66"/>
                  </a:cubicBezTo>
                  <a:cubicBezTo>
                    <a:pt x="26" y="66"/>
                    <a:pt x="26" y="66"/>
                    <a:pt x="26" y="65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1" y="9"/>
                    <a:pt x="43" y="8"/>
                    <a:pt x="45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6" y="8"/>
                    <a:pt x="58" y="9"/>
                    <a:pt x="59" y="12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4" y="66"/>
                    <a:pt x="74" y="66"/>
                    <a:pt x="74" y="65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6" y="1"/>
                    <a:pt x="87" y="0"/>
                    <a:pt x="8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7" y="0"/>
                    <a:pt x="98" y="1"/>
                    <a:pt x="98" y="2"/>
                  </a:cubicBezTo>
                  <a:cubicBezTo>
                    <a:pt x="98" y="3"/>
                    <a:pt x="98" y="3"/>
                    <a:pt x="9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" name="Freeform 21"/>
            <p:cNvSpPr>
              <a:spLocks noEditPoints="1"/>
            </p:cNvSpPr>
            <p:nvPr/>
          </p:nvSpPr>
          <p:spPr bwMode="auto">
            <a:xfrm>
              <a:off x="608013" y="3275013"/>
              <a:ext cx="104775" cy="147637"/>
            </a:xfrm>
            <a:custGeom>
              <a:avLst/>
              <a:gdLst>
                <a:gd name="T0" fmla="*/ 53 w 56"/>
                <a:gd name="T1" fmla="*/ 77 h 78"/>
                <a:gd name="T2" fmla="*/ 47 w 56"/>
                <a:gd name="T3" fmla="*/ 77 h 78"/>
                <a:gd name="T4" fmla="*/ 44 w 56"/>
                <a:gd name="T5" fmla="*/ 74 h 78"/>
                <a:gd name="T6" fmla="*/ 44 w 56"/>
                <a:gd name="T7" fmla="*/ 71 h 78"/>
                <a:gd name="T8" fmla="*/ 23 w 56"/>
                <a:gd name="T9" fmla="*/ 78 h 78"/>
                <a:gd name="T10" fmla="*/ 0 w 56"/>
                <a:gd name="T11" fmla="*/ 55 h 78"/>
                <a:gd name="T12" fmla="*/ 0 w 56"/>
                <a:gd name="T13" fmla="*/ 54 h 78"/>
                <a:gd name="T14" fmla="*/ 34 w 56"/>
                <a:gd name="T15" fmla="*/ 31 h 78"/>
                <a:gd name="T16" fmla="*/ 44 w 56"/>
                <a:gd name="T17" fmla="*/ 31 h 78"/>
                <a:gd name="T18" fmla="*/ 44 w 56"/>
                <a:gd name="T19" fmla="*/ 26 h 78"/>
                <a:gd name="T20" fmla="*/ 29 w 56"/>
                <a:gd name="T21" fmla="*/ 10 h 78"/>
                <a:gd name="T22" fmla="*/ 8 w 56"/>
                <a:gd name="T23" fmla="*/ 11 h 78"/>
                <a:gd name="T24" fmla="*/ 7 w 56"/>
                <a:gd name="T25" fmla="*/ 11 h 78"/>
                <a:gd name="T26" fmla="*/ 5 w 56"/>
                <a:gd name="T27" fmla="*/ 9 h 78"/>
                <a:gd name="T28" fmla="*/ 5 w 56"/>
                <a:gd name="T29" fmla="*/ 4 h 78"/>
                <a:gd name="T30" fmla="*/ 8 w 56"/>
                <a:gd name="T31" fmla="*/ 1 h 78"/>
                <a:gd name="T32" fmla="*/ 29 w 56"/>
                <a:gd name="T33" fmla="*/ 0 h 78"/>
                <a:gd name="T34" fmla="*/ 56 w 56"/>
                <a:gd name="T35" fmla="*/ 26 h 78"/>
                <a:gd name="T36" fmla="*/ 56 w 56"/>
                <a:gd name="T37" fmla="*/ 74 h 78"/>
                <a:gd name="T38" fmla="*/ 53 w 56"/>
                <a:gd name="T39" fmla="*/ 77 h 78"/>
                <a:gd name="T40" fmla="*/ 44 w 56"/>
                <a:gd name="T41" fmla="*/ 40 h 78"/>
                <a:gd name="T42" fmla="*/ 34 w 56"/>
                <a:gd name="T43" fmla="*/ 40 h 78"/>
                <a:gd name="T44" fmla="*/ 12 w 56"/>
                <a:gd name="T45" fmla="*/ 53 h 78"/>
                <a:gd name="T46" fmla="*/ 12 w 56"/>
                <a:gd name="T47" fmla="*/ 55 h 78"/>
                <a:gd name="T48" fmla="*/ 25 w 56"/>
                <a:gd name="T49" fmla="*/ 68 h 78"/>
                <a:gd name="T50" fmla="*/ 44 w 56"/>
                <a:gd name="T51" fmla="*/ 62 h 78"/>
                <a:gd name="T52" fmla="*/ 44 w 56"/>
                <a:gd name="T53" fmla="*/ 4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6" h="78">
                  <a:moveTo>
                    <a:pt x="53" y="77"/>
                  </a:moveTo>
                  <a:cubicBezTo>
                    <a:pt x="47" y="77"/>
                    <a:pt x="47" y="77"/>
                    <a:pt x="47" y="77"/>
                  </a:cubicBezTo>
                  <a:cubicBezTo>
                    <a:pt x="45" y="77"/>
                    <a:pt x="44" y="75"/>
                    <a:pt x="44" y="74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37" y="75"/>
                    <a:pt x="30" y="78"/>
                    <a:pt x="23" y="78"/>
                  </a:cubicBezTo>
                  <a:cubicBezTo>
                    <a:pt x="11" y="78"/>
                    <a:pt x="0" y="72"/>
                    <a:pt x="0" y="5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39"/>
                    <a:pt x="9" y="31"/>
                    <a:pt x="3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14"/>
                    <a:pt x="40" y="10"/>
                    <a:pt x="29" y="10"/>
                  </a:cubicBezTo>
                  <a:cubicBezTo>
                    <a:pt x="20" y="10"/>
                    <a:pt x="13" y="11"/>
                    <a:pt x="8" y="11"/>
                  </a:cubicBezTo>
                  <a:cubicBezTo>
                    <a:pt x="8" y="11"/>
                    <a:pt x="7" y="11"/>
                    <a:pt x="7" y="11"/>
                  </a:cubicBezTo>
                  <a:cubicBezTo>
                    <a:pt x="6" y="11"/>
                    <a:pt x="5" y="11"/>
                    <a:pt x="5" y="9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6" y="2"/>
                    <a:pt x="8" y="1"/>
                  </a:cubicBezTo>
                  <a:cubicBezTo>
                    <a:pt x="13" y="0"/>
                    <a:pt x="20" y="0"/>
                    <a:pt x="29" y="0"/>
                  </a:cubicBezTo>
                  <a:cubicBezTo>
                    <a:pt x="48" y="0"/>
                    <a:pt x="56" y="9"/>
                    <a:pt x="56" y="26"/>
                  </a:cubicBezTo>
                  <a:cubicBezTo>
                    <a:pt x="56" y="74"/>
                    <a:pt x="56" y="74"/>
                    <a:pt x="56" y="74"/>
                  </a:cubicBezTo>
                  <a:cubicBezTo>
                    <a:pt x="56" y="75"/>
                    <a:pt x="55" y="77"/>
                    <a:pt x="53" y="77"/>
                  </a:cubicBezTo>
                  <a:close/>
                  <a:moveTo>
                    <a:pt x="44" y="40"/>
                  </a:moveTo>
                  <a:cubicBezTo>
                    <a:pt x="34" y="40"/>
                    <a:pt x="34" y="40"/>
                    <a:pt x="34" y="40"/>
                  </a:cubicBezTo>
                  <a:cubicBezTo>
                    <a:pt x="17" y="40"/>
                    <a:pt x="12" y="44"/>
                    <a:pt x="12" y="53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65"/>
                    <a:pt x="17" y="68"/>
                    <a:pt x="25" y="68"/>
                  </a:cubicBezTo>
                  <a:cubicBezTo>
                    <a:pt x="31" y="68"/>
                    <a:pt x="37" y="66"/>
                    <a:pt x="44" y="62"/>
                  </a:cubicBezTo>
                  <a:lnTo>
                    <a:pt x="4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" name="Freeform 22"/>
            <p:cNvSpPr/>
            <p:nvPr/>
          </p:nvSpPr>
          <p:spPr bwMode="auto">
            <a:xfrm>
              <a:off x="749300" y="3275013"/>
              <a:ext cx="63500" cy="144462"/>
            </a:xfrm>
            <a:custGeom>
              <a:avLst/>
              <a:gdLst>
                <a:gd name="T0" fmla="*/ 31 w 34"/>
                <a:gd name="T1" fmla="*/ 10 h 77"/>
                <a:gd name="T2" fmla="*/ 12 w 34"/>
                <a:gd name="T3" fmla="*/ 16 h 77"/>
                <a:gd name="T4" fmla="*/ 12 w 34"/>
                <a:gd name="T5" fmla="*/ 74 h 77"/>
                <a:gd name="T6" fmla="*/ 9 w 34"/>
                <a:gd name="T7" fmla="*/ 77 h 77"/>
                <a:gd name="T8" fmla="*/ 2 w 34"/>
                <a:gd name="T9" fmla="*/ 77 h 77"/>
                <a:gd name="T10" fmla="*/ 0 w 34"/>
                <a:gd name="T11" fmla="*/ 74 h 77"/>
                <a:gd name="T12" fmla="*/ 0 w 34"/>
                <a:gd name="T13" fmla="*/ 3 h 77"/>
                <a:gd name="T14" fmla="*/ 2 w 34"/>
                <a:gd name="T15" fmla="*/ 1 h 77"/>
                <a:gd name="T16" fmla="*/ 9 w 34"/>
                <a:gd name="T17" fmla="*/ 1 h 77"/>
                <a:gd name="T18" fmla="*/ 11 w 34"/>
                <a:gd name="T19" fmla="*/ 3 h 77"/>
                <a:gd name="T20" fmla="*/ 11 w 34"/>
                <a:gd name="T21" fmla="*/ 6 h 77"/>
                <a:gd name="T22" fmla="*/ 31 w 34"/>
                <a:gd name="T23" fmla="*/ 0 h 77"/>
                <a:gd name="T24" fmla="*/ 34 w 34"/>
                <a:gd name="T25" fmla="*/ 2 h 77"/>
                <a:gd name="T26" fmla="*/ 34 w 34"/>
                <a:gd name="T27" fmla="*/ 8 h 77"/>
                <a:gd name="T28" fmla="*/ 31 w 34"/>
                <a:gd name="T29" fmla="*/ 1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77">
                  <a:moveTo>
                    <a:pt x="31" y="10"/>
                  </a:moveTo>
                  <a:cubicBezTo>
                    <a:pt x="25" y="10"/>
                    <a:pt x="19" y="12"/>
                    <a:pt x="12" y="16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75"/>
                    <a:pt x="11" y="77"/>
                    <a:pt x="9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1" y="77"/>
                    <a:pt x="0" y="75"/>
                    <a:pt x="0" y="7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1"/>
                    <a:pt x="11" y="2"/>
                    <a:pt x="11" y="3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8" y="1"/>
                    <a:pt x="25" y="0"/>
                    <a:pt x="31" y="0"/>
                  </a:cubicBezTo>
                  <a:cubicBezTo>
                    <a:pt x="33" y="0"/>
                    <a:pt x="34" y="0"/>
                    <a:pt x="34" y="2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9"/>
                    <a:pt x="33" y="10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" name="Freeform 23"/>
            <p:cNvSpPr>
              <a:spLocks noEditPoints="1"/>
            </p:cNvSpPr>
            <p:nvPr/>
          </p:nvSpPr>
          <p:spPr bwMode="auto">
            <a:xfrm>
              <a:off x="825500" y="3275013"/>
              <a:ext cx="114300" cy="147637"/>
            </a:xfrm>
            <a:custGeom>
              <a:avLst/>
              <a:gdLst>
                <a:gd name="T0" fmla="*/ 59 w 61"/>
                <a:gd name="T1" fmla="*/ 42 h 78"/>
                <a:gd name="T2" fmla="*/ 12 w 61"/>
                <a:gd name="T3" fmla="*/ 42 h 78"/>
                <a:gd name="T4" fmla="*/ 12 w 61"/>
                <a:gd name="T5" fmla="*/ 44 h 78"/>
                <a:gd name="T6" fmla="*/ 32 w 61"/>
                <a:gd name="T7" fmla="*/ 67 h 78"/>
                <a:gd name="T8" fmla="*/ 56 w 61"/>
                <a:gd name="T9" fmla="*/ 65 h 78"/>
                <a:gd name="T10" fmla="*/ 57 w 61"/>
                <a:gd name="T11" fmla="*/ 65 h 78"/>
                <a:gd name="T12" fmla="*/ 59 w 61"/>
                <a:gd name="T13" fmla="*/ 67 h 78"/>
                <a:gd name="T14" fmla="*/ 59 w 61"/>
                <a:gd name="T15" fmla="*/ 72 h 78"/>
                <a:gd name="T16" fmla="*/ 56 w 61"/>
                <a:gd name="T17" fmla="*/ 75 h 78"/>
                <a:gd name="T18" fmla="*/ 32 w 61"/>
                <a:gd name="T19" fmla="*/ 78 h 78"/>
                <a:gd name="T20" fmla="*/ 0 w 61"/>
                <a:gd name="T21" fmla="*/ 44 h 78"/>
                <a:gd name="T22" fmla="*/ 0 w 61"/>
                <a:gd name="T23" fmla="*/ 32 h 78"/>
                <a:gd name="T24" fmla="*/ 31 w 61"/>
                <a:gd name="T25" fmla="*/ 0 h 78"/>
                <a:gd name="T26" fmla="*/ 61 w 61"/>
                <a:gd name="T27" fmla="*/ 32 h 78"/>
                <a:gd name="T28" fmla="*/ 61 w 61"/>
                <a:gd name="T29" fmla="*/ 39 h 78"/>
                <a:gd name="T30" fmla="*/ 59 w 61"/>
                <a:gd name="T31" fmla="*/ 42 h 78"/>
                <a:gd name="T32" fmla="*/ 49 w 61"/>
                <a:gd name="T33" fmla="*/ 32 h 78"/>
                <a:gd name="T34" fmla="*/ 31 w 61"/>
                <a:gd name="T35" fmla="*/ 10 h 78"/>
                <a:gd name="T36" fmla="*/ 12 w 61"/>
                <a:gd name="T37" fmla="*/ 32 h 78"/>
                <a:gd name="T38" fmla="*/ 12 w 61"/>
                <a:gd name="T39" fmla="*/ 33 h 78"/>
                <a:gd name="T40" fmla="*/ 49 w 61"/>
                <a:gd name="T41" fmla="*/ 33 h 78"/>
                <a:gd name="T42" fmla="*/ 49 w 61"/>
                <a:gd name="T43" fmla="*/ 3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1" h="78">
                  <a:moveTo>
                    <a:pt x="59" y="42"/>
                  </a:moveTo>
                  <a:cubicBezTo>
                    <a:pt x="12" y="42"/>
                    <a:pt x="12" y="42"/>
                    <a:pt x="12" y="42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61"/>
                    <a:pt x="19" y="67"/>
                    <a:pt x="32" y="67"/>
                  </a:cubicBezTo>
                  <a:cubicBezTo>
                    <a:pt x="40" y="67"/>
                    <a:pt x="50" y="66"/>
                    <a:pt x="56" y="65"/>
                  </a:cubicBezTo>
                  <a:cubicBezTo>
                    <a:pt x="56" y="65"/>
                    <a:pt x="57" y="65"/>
                    <a:pt x="57" y="65"/>
                  </a:cubicBezTo>
                  <a:cubicBezTo>
                    <a:pt x="58" y="65"/>
                    <a:pt x="59" y="66"/>
                    <a:pt x="59" y="67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4"/>
                    <a:pt x="58" y="75"/>
                    <a:pt x="56" y="75"/>
                  </a:cubicBezTo>
                  <a:cubicBezTo>
                    <a:pt x="48" y="77"/>
                    <a:pt x="41" y="78"/>
                    <a:pt x="32" y="78"/>
                  </a:cubicBezTo>
                  <a:cubicBezTo>
                    <a:pt x="16" y="78"/>
                    <a:pt x="0" y="70"/>
                    <a:pt x="0" y="4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2"/>
                    <a:pt x="11" y="0"/>
                    <a:pt x="31" y="0"/>
                  </a:cubicBezTo>
                  <a:cubicBezTo>
                    <a:pt x="51" y="0"/>
                    <a:pt x="61" y="12"/>
                    <a:pt x="61" y="32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41"/>
                    <a:pt x="60" y="42"/>
                    <a:pt x="59" y="42"/>
                  </a:cubicBezTo>
                  <a:close/>
                  <a:moveTo>
                    <a:pt x="49" y="32"/>
                  </a:moveTo>
                  <a:cubicBezTo>
                    <a:pt x="49" y="16"/>
                    <a:pt x="43" y="10"/>
                    <a:pt x="31" y="10"/>
                  </a:cubicBezTo>
                  <a:cubicBezTo>
                    <a:pt x="19" y="10"/>
                    <a:pt x="12" y="17"/>
                    <a:pt x="12" y="3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49" y="33"/>
                    <a:pt x="49" y="33"/>
                    <a:pt x="49" y="33"/>
                  </a:cubicBezTo>
                  <a:lnTo>
                    <a:pt x="49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" name="Freeform 24"/>
            <p:cNvSpPr>
              <a:spLocks noEditPoints="1"/>
            </p:cNvSpPr>
            <p:nvPr/>
          </p:nvSpPr>
          <p:spPr bwMode="auto">
            <a:xfrm>
              <a:off x="-1906587" y="2647950"/>
              <a:ext cx="441325" cy="441325"/>
            </a:xfrm>
            <a:custGeom>
              <a:avLst/>
              <a:gdLst>
                <a:gd name="T0" fmla="*/ 78 w 234"/>
                <a:gd name="T1" fmla="*/ 178 h 234"/>
                <a:gd name="T2" fmla="*/ 78 w 234"/>
                <a:gd name="T3" fmla="*/ 232 h 234"/>
                <a:gd name="T4" fmla="*/ 60 w 234"/>
                <a:gd name="T5" fmla="*/ 232 h 234"/>
                <a:gd name="T6" fmla="*/ 60 w 234"/>
                <a:gd name="T7" fmla="*/ 181 h 234"/>
                <a:gd name="T8" fmla="*/ 4 w 234"/>
                <a:gd name="T9" fmla="*/ 190 h 234"/>
                <a:gd name="T10" fmla="*/ 0 w 234"/>
                <a:gd name="T11" fmla="*/ 170 h 234"/>
                <a:gd name="T12" fmla="*/ 60 w 234"/>
                <a:gd name="T13" fmla="*/ 162 h 234"/>
                <a:gd name="T14" fmla="*/ 60 w 234"/>
                <a:gd name="T15" fmla="*/ 126 h 234"/>
                <a:gd name="T16" fmla="*/ 33 w 234"/>
                <a:gd name="T17" fmla="*/ 126 h 234"/>
                <a:gd name="T18" fmla="*/ 14 w 234"/>
                <a:gd name="T19" fmla="*/ 129 h 234"/>
                <a:gd name="T20" fmla="*/ 8 w 234"/>
                <a:gd name="T21" fmla="*/ 112 h 234"/>
                <a:gd name="T22" fmla="*/ 22 w 234"/>
                <a:gd name="T23" fmla="*/ 92 h 234"/>
                <a:gd name="T24" fmla="*/ 38 w 234"/>
                <a:gd name="T25" fmla="*/ 49 h 234"/>
                <a:gd name="T26" fmla="*/ 3 w 234"/>
                <a:gd name="T27" fmla="*/ 49 h 234"/>
                <a:gd name="T28" fmla="*/ 3 w 234"/>
                <a:gd name="T29" fmla="*/ 31 h 234"/>
                <a:gd name="T30" fmla="*/ 44 w 234"/>
                <a:gd name="T31" fmla="*/ 31 h 234"/>
                <a:gd name="T32" fmla="*/ 51 w 234"/>
                <a:gd name="T33" fmla="*/ 1 h 234"/>
                <a:gd name="T34" fmla="*/ 70 w 234"/>
                <a:gd name="T35" fmla="*/ 5 h 234"/>
                <a:gd name="T36" fmla="*/ 63 w 234"/>
                <a:gd name="T37" fmla="*/ 31 h 234"/>
                <a:gd name="T38" fmla="*/ 111 w 234"/>
                <a:gd name="T39" fmla="*/ 31 h 234"/>
                <a:gd name="T40" fmla="*/ 111 w 234"/>
                <a:gd name="T41" fmla="*/ 49 h 234"/>
                <a:gd name="T42" fmla="*/ 57 w 234"/>
                <a:gd name="T43" fmla="*/ 49 h 234"/>
                <a:gd name="T44" fmla="*/ 33 w 234"/>
                <a:gd name="T45" fmla="*/ 108 h 234"/>
                <a:gd name="T46" fmla="*/ 60 w 234"/>
                <a:gd name="T47" fmla="*/ 108 h 234"/>
                <a:gd name="T48" fmla="*/ 60 w 234"/>
                <a:gd name="T49" fmla="*/ 71 h 234"/>
                <a:gd name="T50" fmla="*/ 78 w 234"/>
                <a:gd name="T51" fmla="*/ 71 h 234"/>
                <a:gd name="T52" fmla="*/ 78 w 234"/>
                <a:gd name="T53" fmla="*/ 108 h 234"/>
                <a:gd name="T54" fmla="*/ 110 w 234"/>
                <a:gd name="T55" fmla="*/ 108 h 234"/>
                <a:gd name="T56" fmla="*/ 110 w 234"/>
                <a:gd name="T57" fmla="*/ 126 h 234"/>
                <a:gd name="T58" fmla="*/ 78 w 234"/>
                <a:gd name="T59" fmla="*/ 126 h 234"/>
                <a:gd name="T60" fmla="*/ 78 w 234"/>
                <a:gd name="T61" fmla="*/ 160 h 234"/>
                <a:gd name="T62" fmla="*/ 111 w 234"/>
                <a:gd name="T63" fmla="*/ 155 h 234"/>
                <a:gd name="T64" fmla="*/ 112 w 234"/>
                <a:gd name="T65" fmla="*/ 172 h 234"/>
                <a:gd name="T66" fmla="*/ 78 w 234"/>
                <a:gd name="T67" fmla="*/ 178 h 234"/>
                <a:gd name="T68" fmla="*/ 176 w 234"/>
                <a:gd name="T69" fmla="*/ 93 h 234"/>
                <a:gd name="T70" fmla="*/ 176 w 234"/>
                <a:gd name="T71" fmla="*/ 116 h 234"/>
                <a:gd name="T72" fmla="*/ 234 w 234"/>
                <a:gd name="T73" fmla="*/ 218 h 234"/>
                <a:gd name="T74" fmla="*/ 222 w 234"/>
                <a:gd name="T75" fmla="*/ 233 h 234"/>
                <a:gd name="T76" fmla="*/ 169 w 234"/>
                <a:gd name="T77" fmla="*/ 155 h 234"/>
                <a:gd name="T78" fmla="*/ 114 w 234"/>
                <a:gd name="T79" fmla="*/ 234 h 234"/>
                <a:gd name="T80" fmla="*/ 100 w 234"/>
                <a:gd name="T81" fmla="*/ 221 h 234"/>
                <a:gd name="T82" fmla="*/ 158 w 234"/>
                <a:gd name="T83" fmla="*/ 92 h 234"/>
                <a:gd name="T84" fmla="*/ 158 w 234"/>
                <a:gd name="T85" fmla="*/ 81 h 234"/>
                <a:gd name="T86" fmla="*/ 176 w 234"/>
                <a:gd name="T87" fmla="*/ 81 h 234"/>
                <a:gd name="T88" fmla="*/ 176 w 234"/>
                <a:gd name="T89" fmla="*/ 93 h 234"/>
                <a:gd name="T90" fmla="*/ 147 w 234"/>
                <a:gd name="T91" fmla="*/ 57 h 234"/>
                <a:gd name="T92" fmla="*/ 122 w 234"/>
                <a:gd name="T93" fmla="*/ 111 h 234"/>
                <a:gd name="T94" fmla="*/ 107 w 234"/>
                <a:gd name="T95" fmla="*/ 101 h 234"/>
                <a:gd name="T96" fmla="*/ 140 w 234"/>
                <a:gd name="T97" fmla="*/ 0 h 234"/>
                <a:gd name="T98" fmla="*/ 158 w 234"/>
                <a:gd name="T99" fmla="*/ 3 h 234"/>
                <a:gd name="T100" fmla="*/ 151 w 234"/>
                <a:gd name="T101" fmla="*/ 39 h 234"/>
                <a:gd name="T102" fmla="*/ 218 w 234"/>
                <a:gd name="T103" fmla="*/ 39 h 234"/>
                <a:gd name="T104" fmla="*/ 220 w 234"/>
                <a:gd name="T105" fmla="*/ 39 h 234"/>
                <a:gd name="T106" fmla="*/ 233 w 234"/>
                <a:gd name="T107" fmla="*/ 42 h 234"/>
                <a:gd name="T108" fmla="*/ 216 w 234"/>
                <a:gd name="T109" fmla="*/ 110 h 234"/>
                <a:gd name="T110" fmla="*/ 200 w 234"/>
                <a:gd name="T111" fmla="*/ 106 h 234"/>
                <a:gd name="T112" fmla="*/ 212 w 234"/>
                <a:gd name="T113" fmla="*/ 57 h 234"/>
                <a:gd name="T114" fmla="*/ 147 w 234"/>
                <a:gd name="T115" fmla="*/ 5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4" h="234">
                  <a:moveTo>
                    <a:pt x="78" y="178"/>
                  </a:moveTo>
                  <a:cubicBezTo>
                    <a:pt x="78" y="232"/>
                    <a:pt x="78" y="232"/>
                    <a:pt x="78" y="232"/>
                  </a:cubicBezTo>
                  <a:cubicBezTo>
                    <a:pt x="60" y="232"/>
                    <a:pt x="60" y="232"/>
                    <a:pt x="60" y="232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40" y="184"/>
                    <a:pt x="20" y="187"/>
                    <a:pt x="4" y="190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16" y="169"/>
                    <a:pt x="37" y="166"/>
                    <a:pt x="60" y="162"/>
                  </a:cubicBezTo>
                  <a:cubicBezTo>
                    <a:pt x="60" y="126"/>
                    <a:pt x="60" y="126"/>
                    <a:pt x="60" y="126"/>
                  </a:cubicBezTo>
                  <a:cubicBezTo>
                    <a:pt x="33" y="126"/>
                    <a:pt x="33" y="126"/>
                    <a:pt x="33" y="126"/>
                  </a:cubicBezTo>
                  <a:cubicBezTo>
                    <a:pt x="24" y="126"/>
                    <a:pt x="16" y="127"/>
                    <a:pt x="14" y="129"/>
                  </a:cubicBezTo>
                  <a:cubicBezTo>
                    <a:pt x="13" y="125"/>
                    <a:pt x="10" y="117"/>
                    <a:pt x="8" y="112"/>
                  </a:cubicBezTo>
                  <a:cubicBezTo>
                    <a:pt x="13" y="111"/>
                    <a:pt x="16" y="103"/>
                    <a:pt x="22" y="92"/>
                  </a:cubicBezTo>
                  <a:cubicBezTo>
                    <a:pt x="25" y="86"/>
                    <a:pt x="31" y="69"/>
                    <a:pt x="38" y="49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7" y="21"/>
                    <a:pt x="49" y="11"/>
                    <a:pt x="51" y="1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68" y="13"/>
                    <a:pt x="65" y="22"/>
                    <a:pt x="63" y="31"/>
                  </a:cubicBezTo>
                  <a:cubicBezTo>
                    <a:pt x="111" y="31"/>
                    <a:pt x="111" y="31"/>
                    <a:pt x="111" y="31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49" y="70"/>
                    <a:pt x="41" y="91"/>
                    <a:pt x="33" y="108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78" y="108"/>
                    <a:pt x="78" y="108"/>
                    <a:pt x="78" y="108"/>
                  </a:cubicBezTo>
                  <a:cubicBezTo>
                    <a:pt x="110" y="108"/>
                    <a:pt x="110" y="108"/>
                    <a:pt x="110" y="108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78" y="126"/>
                    <a:pt x="78" y="126"/>
                    <a:pt x="78" y="126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72"/>
                    <a:pt x="112" y="172"/>
                    <a:pt x="112" y="172"/>
                  </a:cubicBezTo>
                  <a:lnTo>
                    <a:pt x="78" y="178"/>
                  </a:lnTo>
                  <a:close/>
                  <a:moveTo>
                    <a:pt x="176" y="93"/>
                  </a:moveTo>
                  <a:cubicBezTo>
                    <a:pt x="176" y="100"/>
                    <a:pt x="176" y="107"/>
                    <a:pt x="176" y="116"/>
                  </a:cubicBezTo>
                  <a:cubicBezTo>
                    <a:pt x="185" y="161"/>
                    <a:pt x="203" y="201"/>
                    <a:pt x="234" y="218"/>
                  </a:cubicBezTo>
                  <a:cubicBezTo>
                    <a:pt x="231" y="221"/>
                    <a:pt x="225" y="228"/>
                    <a:pt x="222" y="233"/>
                  </a:cubicBezTo>
                  <a:cubicBezTo>
                    <a:pt x="196" y="218"/>
                    <a:pt x="180" y="190"/>
                    <a:pt x="169" y="155"/>
                  </a:cubicBezTo>
                  <a:cubicBezTo>
                    <a:pt x="161" y="182"/>
                    <a:pt x="146" y="210"/>
                    <a:pt x="114" y="234"/>
                  </a:cubicBezTo>
                  <a:cubicBezTo>
                    <a:pt x="111" y="229"/>
                    <a:pt x="105" y="224"/>
                    <a:pt x="100" y="221"/>
                  </a:cubicBezTo>
                  <a:cubicBezTo>
                    <a:pt x="155" y="181"/>
                    <a:pt x="158" y="128"/>
                    <a:pt x="158" y="92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76" y="81"/>
                    <a:pt x="176" y="81"/>
                    <a:pt x="176" y="81"/>
                  </a:cubicBezTo>
                  <a:lnTo>
                    <a:pt x="176" y="93"/>
                  </a:lnTo>
                  <a:close/>
                  <a:moveTo>
                    <a:pt x="147" y="57"/>
                  </a:moveTo>
                  <a:cubicBezTo>
                    <a:pt x="140" y="78"/>
                    <a:pt x="132" y="97"/>
                    <a:pt x="122" y="111"/>
                  </a:cubicBezTo>
                  <a:cubicBezTo>
                    <a:pt x="119" y="108"/>
                    <a:pt x="111" y="103"/>
                    <a:pt x="107" y="101"/>
                  </a:cubicBezTo>
                  <a:cubicBezTo>
                    <a:pt x="124" y="77"/>
                    <a:pt x="134" y="40"/>
                    <a:pt x="140" y="0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56" y="16"/>
                    <a:pt x="154" y="28"/>
                    <a:pt x="151" y="39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20" y="39"/>
                    <a:pt x="220" y="39"/>
                    <a:pt x="220" y="39"/>
                  </a:cubicBezTo>
                  <a:cubicBezTo>
                    <a:pt x="233" y="42"/>
                    <a:pt x="233" y="42"/>
                    <a:pt x="233" y="42"/>
                  </a:cubicBezTo>
                  <a:cubicBezTo>
                    <a:pt x="228" y="66"/>
                    <a:pt x="221" y="93"/>
                    <a:pt x="216" y="110"/>
                  </a:cubicBezTo>
                  <a:cubicBezTo>
                    <a:pt x="200" y="106"/>
                    <a:pt x="200" y="106"/>
                    <a:pt x="200" y="106"/>
                  </a:cubicBezTo>
                  <a:cubicBezTo>
                    <a:pt x="204" y="93"/>
                    <a:pt x="208" y="74"/>
                    <a:pt x="212" y="57"/>
                  </a:cubicBezTo>
                  <a:lnTo>
                    <a:pt x="147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" name="Freeform 25"/>
            <p:cNvSpPr>
              <a:spLocks noEditPoints="1"/>
            </p:cNvSpPr>
            <p:nvPr/>
          </p:nvSpPr>
          <p:spPr bwMode="auto">
            <a:xfrm>
              <a:off x="-1428750" y="2649538"/>
              <a:ext cx="436563" cy="439737"/>
            </a:xfrm>
            <a:custGeom>
              <a:avLst/>
              <a:gdLst>
                <a:gd name="T0" fmla="*/ 77 w 232"/>
                <a:gd name="T1" fmla="*/ 6 h 233"/>
                <a:gd name="T2" fmla="*/ 52 w 232"/>
                <a:gd name="T3" fmla="*/ 61 h 233"/>
                <a:gd name="T4" fmla="*/ 52 w 232"/>
                <a:gd name="T5" fmla="*/ 232 h 233"/>
                <a:gd name="T6" fmla="*/ 34 w 232"/>
                <a:gd name="T7" fmla="*/ 232 h 233"/>
                <a:gd name="T8" fmla="*/ 34 w 232"/>
                <a:gd name="T9" fmla="*/ 90 h 233"/>
                <a:gd name="T10" fmla="*/ 10 w 232"/>
                <a:gd name="T11" fmla="*/ 120 h 233"/>
                <a:gd name="T12" fmla="*/ 0 w 232"/>
                <a:gd name="T13" fmla="*/ 102 h 233"/>
                <a:gd name="T14" fmla="*/ 59 w 232"/>
                <a:gd name="T15" fmla="*/ 0 h 233"/>
                <a:gd name="T16" fmla="*/ 77 w 232"/>
                <a:gd name="T17" fmla="*/ 6 h 233"/>
                <a:gd name="T18" fmla="*/ 232 w 232"/>
                <a:gd name="T19" fmla="*/ 144 h 233"/>
                <a:gd name="T20" fmla="*/ 163 w 232"/>
                <a:gd name="T21" fmla="*/ 144 h 233"/>
                <a:gd name="T22" fmla="*/ 163 w 232"/>
                <a:gd name="T23" fmla="*/ 233 h 233"/>
                <a:gd name="T24" fmla="*/ 144 w 232"/>
                <a:gd name="T25" fmla="*/ 233 h 233"/>
                <a:gd name="T26" fmla="*/ 144 w 232"/>
                <a:gd name="T27" fmla="*/ 144 h 233"/>
                <a:gd name="T28" fmla="*/ 72 w 232"/>
                <a:gd name="T29" fmla="*/ 144 h 233"/>
                <a:gd name="T30" fmla="*/ 72 w 232"/>
                <a:gd name="T31" fmla="*/ 126 h 233"/>
                <a:gd name="T32" fmla="*/ 144 w 232"/>
                <a:gd name="T33" fmla="*/ 126 h 233"/>
                <a:gd name="T34" fmla="*/ 144 w 232"/>
                <a:gd name="T35" fmla="*/ 70 h 233"/>
                <a:gd name="T36" fmla="*/ 104 w 232"/>
                <a:gd name="T37" fmla="*/ 70 h 233"/>
                <a:gd name="T38" fmla="*/ 86 w 232"/>
                <a:gd name="T39" fmla="*/ 109 h 233"/>
                <a:gd name="T40" fmla="*/ 69 w 232"/>
                <a:gd name="T41" fmla="*/ 99 h 233"/>
                <a:gd name="T42" fmla="*/ 101 w 232"/>
                <a:gd name="T43" fmla="*/ 12 h 233"/>
                <a:gd name="T44" fmla="*/ 119 w 232"/>
                <a:gd name="T45" fmla="*/ 16 h 233"/>
                <a:gd name="T46" fmla="*/ 110 w 232"/>
                <a:gd name="T47" fmla="*/ 51 h 233"/>
                <a:gd name="T48" fmla="*/ 144 w 232"/>
                <a:gd name="T49" fmla="*/ 51 h 233"/>
                <a:gd name="T50" fmla="*/ 144 w 232"/>
                <a:gd name="T51" fmla="*/ 3 h 233"/>
                <a:gd name="T52" fmla="*/ 163 w 232"/>
                <a:gd name="T53" fmla="*/ 3 h 233"/>
                <a:gd name="T54" fmla="*/ 163 w 232"/>
                <a:gd name="T55" fmla="*/ 51 h 233"/>
                <a:gd name="T56" fmla="*/ 221 w 232"/>
                <a:gd name="T57" fmla="*/ 51 h 233"/>
                <a:gd name="T58" fmla="*/ 221 w 232"/>
                <a:gd name="T59" fmla="*/ 70 h 233"/>
                <a:gd name="T60" fmla="*/ 163 w 232"/>
                <a:gd name="T61" fmla="*/ 70 h 233"/>
                <a:gd name="T62" fmla="*/ 163 w 232"/>
                <a:gd name="T63" fmla="*/ 126 h 233"/>
                <a:gd name="T64" fmla="*/ 232 w 232"/>
                <a:gd name="T65" fmla="*/ 126 h 233"/>
                <a:gd name="T66" fmla="*/ 232 w 232"/>
                <a:gd name="T67" fmla="*/ 144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2" h="233">
                  <a:moveTo>
                    <a:pt x="77" y="6"/>
                  </a:moveTo>
                  <a:cubicBezTo>
                    <a:pt x="70" y="24"/>
                    <a:pt x="62" y="43"/>
                    <a:pt x="52" y="61"/>
                  </a:cubicBezTo>
                  <a:cubicBezTo>
                    <a:pt x="52" y="232"/>
                    <a:pt x="52" y="232"/>
                    <a:pt x="52" y="232"/>
                  </a:cubicBezTo>
                  <a:cubicBezTo>
                    <a:pt x="34" y="232"/>
                    <a:pt x="34" y="232"/>
                    <a:pt x="34" y="232"/>
                  </a:cubicBezTo>
                  <a:cubicBezTo>
                    <a:pt x="34" y="90"/>
                    <a:pt x="34" y="90"/>
                    <a:pt x="34" y="90"/>
                  </a:cubicBezTo>
                  <a:cubicBezTo>
                    <a:pt x="26" y="101"/>
                    <a:pt x="18" y="111"/>
                    <a:pt x="10" y="120"/>
                  </a:cubicBezTo>
                  <a:cubicBezTo>
                    <a:pt x="8" y="116"/>
                    <a:pt x="3" y="106"/>
                    <a:pt x="0" y="102"/>
                  </a:cubicBezTo>
                  <a:cubicBezTo>
                    <a:pt x="23" y="77"/>
                    <a:pt x="46" y="39"/>
                    <a:pt x="59" y="0"/>
                  </a:cubicBezTo>
                  <a:lnTo>
                    <a:pt x="77" y="6"/>
                  </a:lnTo>
                  <a:close/>
                  <a:moveTo>
                    <a:pt x="232" y="144"/>
                  </a:moveTo>
                  <a:cubicBezTo>
                    <a:pt x="163" y="144"/>
                    <a:pt x="163" y="144"/>
                    <a:pt x="163" y="144"/>
                  </a:cubicBezTo>
                  <a:cubicBezTo>
                    <a:pt x="163" y="233"/>
                    <a:pt x="163" y="233"/>
                    <a:pt x="163" y="233"/>
                  </a:cubicBezTo>
                  <a:cubicBezTo>
                    <a:pt x="144" y="233"/>
                    <a:pt x="144" y="233"/>
                    <a:pt x="144" y="233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72" y="144"/>
                    <a:pt x="72" y="144"/>
                    <a:pt x="72" y="144"/>
                  </a:cubicBezTo>
                  <a:cubicBezTo>
                    <a:pt x="72" y="126"/>
                    <a:pt x="72" y="126"/>
                    <a:pt x="72" y="126"/>
                  </a:cubicBezTo>
                  <a:cubicBezTo>
                    <a:pt x="144" y="126"/>
                    <a:pt x="144" y="126"/>
                    <a:pt x="144" y="126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04" y="70"/>
                    <a:pt x="104" y="70"/>
                    <a:pt x="104" y="70"/>
                  </a:cubicBezTo>
                  <a:cubicBezTo>
                    <a:pt x="99" y="85"/>
                    <a:pt x="93" y="98"/>
                    <a:pt x="86" y="109"/>
                  </a:cubicBezTo>
                  <a:cubicBezTo>
                    <a:pt x="82" y="106"/>
                    <a:pt x="74" y="101"/>
                    <a:pt x="69" y="99"/>
                  </a:cubicBezTo>
                  <a:cubicBezTo>
                    <a:pt x="85" y="78"/>
                    <a:pt x="95" y="45"/>
                    <a:pt x="101" y="12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116" y="28"/>
                    <a:pt x="114" y="40"/>
                    <a:pt x="110" y="51"/>
                  </a:cubicBezTo>
                  <a:cubicBezTo>
                    <a:pt x="144" y="51"/>
                    <a:pt x="144" y="51"/>
                    <a:pt x="144" y="51"/>
                  </a:cubicBezTo>
                  <a:cubicBezTo>
                    <a:pt x="144" y="3"/>
                    <a:pt x="144" y="3"/>
                    <a:pt x="144" y="3"/>
                  </a:cubicBezTo>
                  <a:cubicBezTo>
                    <a:pt x="163" y="3"/>
                    <a:pt x="163" y="3"/>
                    <a:pt x="163" y="3"/>
                  </a:cubicBezTo>
                  <a:cubicBezTo>
                    <a:pt x="163" y="51"/>
                    <a:pt x="163" y="51"/>
                    <a:pt x="163" y="51"/>
                  </a:cubicBezTo>
                  <a:cubicBezTo>
                    <a:pt x="221" y="51"/>
                    <a:pt x="221" y="51"/>
                    <a:pt x="221" y="51"/>
                  </a:cubicBezTo>
                  <a:cubicBezTo>
                    <a:pt x="221" y="70"/>
                    <a:pt x="221" y="70"/>
                    <a:pt x="221" y="70"/>
                  </a:cubicBezTo>
                  <a:cubicBezTo>
                    <a:pt x="163" y="70"/>
                    <a:pt x="163" y="70"/>
                    <a:pt x="163" y="70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232" y="126"/>
                    <a:pt x="232" y="126"/>
                    <a:pt x="232" y="126"/>
                  </a:cubicBezTo>
                  <a:lnTo>
                    <a:pt x="232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" name="Freeform 26"/>
            <p:cNvSpPr>
              <a:spLocks noEditPoints="1"/>
            </p:cNvSpPr>
            <p:nvPr/>
          </p:nvSpPr>
          <p:spPr bwMode="auto">
            <a:xfrm>
              <a:off x="-942975" y="2649538"/>
              <a:ext cx="417513" cy="439737"/>
            </a:xfrm>
            <a:custGeom>
              <a:avLst/>
              <a:gdLst>
                <a:gd name="T0" fmla="*/ 110 w 222"/>
                <a:gd name="T1" fmla="*/ 53 h 233"/>
                <a:gd name="T2" fmla="*/ 81 w 222"/>
                <a:gd name="T3" fmla="*/ 168 h 233"/>
                <a:gd name="T4" fmla="*/ 109 w 222"/>
                <a:gd name="T5" fmla="*/ 195 h 233"/>
                <a:gd name="T6" fmla="*/ 97 w 222"/>
                <a:gd name="T7" fmla="*/ 211 h 233"/>
                <a:gd name="T8" fmla="*/ 71 w 222"/>
                <a:gd name="T9" fmla="*/ 185 h 233"/>
                <a:gd name="T10" fmla="*/ 12 w 222"/>
                <a:gd name="T11" fmla="*/ 233 h 233"/>
                <a:gd name="T12" fmla="*/ 0 w 222"/>
                <a:gd name="T13" fmla="*/ 217 h 233"/>
                <a:gd name="T14" fmla="*/ 57 w 222"/>
                <a:gd name="T15" fmla="*/ 172 h 233"/>
                <a:gd name="T16" fmla="*/ 13 w 222"/>
                <a:gd name="T17" fmla="*/ 138 h 233"/>
                <a:gd name="T18" fmla="*/ 31 w 222"/>
                <a:gd name="T19" fmla="*/ 69 h 233"/>
                <a:gd name="T20" fmla="*/ 0 w 222"/>
                <a:gd name="T21" fmla="*/ 69 h 233"/>
                <a:gd name="T22" fmla="*/ 0 w 222"/>
                <a:gd name="T23" fmla="*/ 52 h 233"/>
                <a:gd name="T24" fmla="*/ 35 w 222"/>
                <a:gd name="T25" fmla="*/ 52 h 233"/>
                <a:gd name="T26" fmla="*/ 43 w 222"/>
                <a:gd name="T27" fmla="*/ 0 h 233"/>
                <a:gd name="T28" fmla="*/ 62 w 222"/>
                <a:gd name="T29" fmla="*/ 1 h 233"/>
                <a:gd name="T30" fmla="*/ 53 w 222"/>
                <a:gd name="T31" fmla="*/ 52 h 233"/>
                <a:gd name="T32" fmla="*/ 94 w 222"/>
                <a:gd name="T33" fmla="*/ 52 h 233"/>
                <a:gd name="T34" fmla="*/ 98 w 222"/>
                <a:gd name="T35" fmla="*/ 51 h 233"/>
                <a:gd name="T36" fmla="*/ 110 w 222"/>
                <a:gd name="T37" fmla="*/ 53 h 233"/>
                <a:gd name="T38" fmla="*/ 50 w 222"/>
                <a:gd name="T39" fmla="*/ 69 h 233"/>
                <a:gd name="T40" fmla="*/ 34 w 222"/>
                <a:gd name="T41" fmla="*/ 131 h 233"/>
                <a:gd name="T42" fmla="*/ 67 w 222"/>
                <a:gd name="T43" fmla="*/ 156 h 233"/>
                <a:gd name="T44" fmla="*/ 90 w 222"/>
                <a:gd name="T45" fmla="*/ 69 h 233"/>
                <a:gd name="T46" fmla="*/ 50 w 222"/>
                <a:gd name="T47" fmla="*/ 69 h 233"/>
                <a:gd name="T48" fmla="*/ 222 w 222"/>
                <a:gd name="T49" fmla="*/ 27 h 233"/>
                <a:gd name="T50" fmla="*/ 222 w 222"/>
                <a:gd name="T51" fmla="*/ 222 h 233"/>
                <a:gd name="T52" fmla="*/ 204 w 222"/>
                <a:gd name="T53" fmla="*/ 222 h 233"/>
                <a:gd name="T54" fmla="*/ 204 w 222"/>
                <a:gd name="T55" fmla="*/ 207 h 233"/>
                <a:gd name="T56" fmla="*/ 141 w 222"/>
                <a:gd name="T57" fmla="*/ 207 h 233"/>
                <a:gd name="T58" fmla="*/ 141 w 222"/>
                <a:gd name="T59" fmla="*/ 226 h 233"/>
                <a:gd name="T60" fmla="*/ 123 w 222"/>
                <a:gd name="T61" fmla="*/ 226 h 233"/>
                <a:gd name="T62" fmla="*/ 123 w 222"/>
                <a:gd name="T63" fmla="*/ 27 h 233"/>
                <a:gd name="T64" fmla="*/ 222 w 222"/>
                <a:gd name="T65" fmla="*/ 27 h 233"/>
                <a:gd name="T66" fmla="*/ 204 w 222"/>
                <a:gd name="T67" fmla="*/ 189 h 233"/>
                <a:gd name="T68" fmla="*/ 204 w 222"/>
                <a:gd name="T69" fmla="*/ 45 h 233"/>
                <a:gd name="T70" fmla="*/ 141 w 222"/>
                <a:gd name="T71" fmla="*/ 45 h 233"/>
                <a:gd name="T72" fmla="*/ 141 w 222"/>
                <a:gd name="T73" fmla="*/ 189 h 233"/>
                <a:gd name="T74" fmla="*/ 204 w 222"/>
                <a:gd name="T75" fmla="*/ 18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2" h="233">
                  <a:moveTo>
                    <a:pt x="110" y="53"/>
                  </a:moveTo>
                  <a:cubicBezTo>
                    <a:pt x="106" y="102"/>
                    <a:pt x="97" y="140"/>
                    <a:pt x="81" y="168"/>
                  </a:cubicBezTo>
                  <a:cubicBezTo>
                    <a:pt x="93" y="178"/>
                    <a:pt x="103" y="187"/>
                    <a:pt x="109" y="195"/>
                  </a:cubicBezTo>
                  <a:cubicBezTo>
                    <a:pt x="97" y="211"/>
                    <a:pt x="97" y="211"/>
                    <a:pt x="97" y="211"/>
                  </a:cubicBezTo>
                  <a:cubicBezTo>
                    <a:pt x="90" y="203"/>
                    <a:pt x="81" y="194"/>
                    <a:pt x="71" y="185"/>
                  </a:cubicBezTo>
                  <a:cubicBezTo>
                    <a:pt x="56" y="207"/>
                    <a:pt x="36" y="222"/>
                    <a:pt x="12" y="233"/>
                  </a:cubicBezTo>
                  <a:cubicBezTo>
                    <a:pt x="10" y="228"/>
                    <a:pt x="4" y="221"/>
                    <a:pt x="0" y="217"/>
                  </a:cubicBezTo>
                  <a:cubicBezTo>
                    <a:pt x="23" y="208"/>
                    <a:pt x="42" y="194"/>
                    <a:pt x="57" y="172"/>
                  </a:cubicBezTo>
                  <a:cubicBezTo>
                    <a:pt x="42" y="160"/>
                    <a:pt x="27" y="148"/>
                    <a:pt x="13" y="138"/>
                  </a:cubicBezTo>
                  <a:cubicBezTo>
                    <a:pt x="19" y="120"/>
                    <a:pt x="26" y="95"/>
                    <a:pt x="31" y="69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9" y="34"/>
                    <a:pt x="41" y="16"/>
                    <a:pt x="43" y="0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0" y="17"/>
                    <a:pt x="57" y="34"/>
                    <a:pt x="53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8" y="51"/>
                    <a:pt x="98" y="51"/>
                    <a:pt x="98" y="51"/>
                  </a:cubicBezTo>
                  <a:lnTo>
                    <a:pt x="110" y="53"/>
                  </a:lnTo>
                  <a:close/>
                  <a:moveTo>
                    <a:pt x="50" y="69"/>
                  </a:moveTo>
                  <a:cubicBezTo>
                    <a:pt x="45" y="92"/>
                    <a:pt x="39" y="113"/>
                    <a:pt x="34" y="131"/>
                  </a:cubicBezTo>
                  <a:cubicBezTo>
                    <a:pt x="44" y="139"/>
                    <a:pt x="56" y="147"/>
                    <a:pt x="67" y="156"/>
                  </a:cubicBezTo>
                  <a:cubicBezTo>
                    <a:pt x="78" y="133"/>
                    <a:pt x="86" y="104"/>
                    <a:pt x="90" y="69"/>
                  </a:cubicBezTo>
                  <a:lnTo>
                    <a:pt x="50" y="69"/>
                  </a:lnTo>
                  <a:close/>
                  <a:moveTo>
                    <a:pt x="222" y="27"/>
                  </a:moveTo>
                  <a:cubicBezTo>
                    <a:pt x="222" y="222"/>
                    <a:pt x="222" y="222"/>
                    <a:pt x="222" y="222"/>
                  </a:cubicBezTo>
                  <a:cubicBezTo>
                    <a:pt x="204" y="222"/>
                    <a:pt x="204" y="222"/>
                    <a:pt x="204" y="222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141" y="207"/>
                    <a:pt x="141" y="207"/>
                    <a:pt x="141" y="207"/>
                  </a:cubicBezTo>
                  <a:cubicBezTo>
                    <a:pt x="141" y="226"/>
                    <a:pt x="141" y="226"/>
                    <a:pt x="141" y="226"/>
                  </a:cubicBezTo>
                  <a:cubicBezTo>
                    <a:pt x="123" y="226"/>
                    <a:pt x="123" y="226"/>
                    <a:pt x="123" y="226"/>
                  </a:cubicBezTo>
                  <a:cubicBezTo>
                    <a:pt x="123" y="27"/>
                    <a:pt x="123" y="27"/>
                    <a:pt x="123" y="27"/>
                  </a:cubicBezTo>
                  <a:lnTo>
                    <a:pt x="222" y="27"/>
                  </a:lnTo>
                  <a:close/>
                  <a:moveTo>
                    <a:pt x="204" y="189"/>
                  </a:moveTo>
                  <a:cubicBezTo>
                    <a:pt x="204" y="45"/>
                    <a:pt x="204" y="45"/>
                    <a:pt x="204" y="45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1" y="189"/>
                    <a:pt x="141" y="189"/>
                    <a:pt x="141" y="189"/>
                  </a:cubicBezTo>
                  <a:lnTo>
                    <a:pt x="204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" name="Freeform 27"/>
            <p:cNvSpPr>
              <a:spLocks noEditPoints="1"/>
            </p:cNvSpPr>
            <p:nvPr/>
          </p:nvSpPr>
          <p:spPr bwMode="auto">
            <a:xfrm>
              <a:off x="-463550" y="2647950"/>
              <a:ext cx="442913" cy="433387"/>
            </a:xfrm>
            <a:custGeom>
              <a:avLst/>
              <a:gdLst>
                <a:gd name="T0" fmla="*/ 123 w 235"/>
                <a:gd name="T1" fmla="*/ 189 h 230"/>
                <a:gd name="T2" fmla="*/ 125 w 235"/>
                <a:gd name="T3" fmla="*/ 207 h 230"/>
                <a:gd name="T4" fmla="*/ 3 w 235"/>
                <a:gd name="T5" fmla="*/ 230 h 230"/>
                <a:gd name="T6" fmla="*/ 0 w 235"/>
                <a:gd name="T7" fmla="*/ 210 h 230"/>
                <a:gd name="T8" fmla="*/ 20 w 235"/>
                <a:gd name="T9" fmla="*/ 207 h 230"/>
                <a:gd name="T10" fmla="*/ 20 w 235"/>
                <a:gd name="T11" fmla="*/ 52 h 230"/>
                <a:gd name="T12" fmla="*/ 39 w 235"/>
                <a:gd name="T13" fmla="*/ 52 h 230"/>
                <a:gd name="T14" fmla="*/ 39 w 235"/>
                <a:gd name="T15" fmla="*/ 203 h 230"/>
                <a:gd name="T16" fmla="*/ 68 w 235"/>
                <a:gd name="T17" fmla="*/ 199 h 230"/>
                <a:gd name="T18" fmla="*/ 68 w 235"/>
                <a:gd name="T19" fmla="*/ 0 h 230"/>
                <a:gd name="T20" fmla="*/ 87 w 235"/>
                <a:gd name="T21" fmla="*/ 0 h 230"/>
                <a:gd name="T22" fmla="*/ 87 w 235"/>
                <a:gd name="T23" fmla="*/ 79 h 230"/>
                <a:gd name="T24" fmla="*/ 123 w 235"/>
                <a:gd name="T25" fmla="*/ 79 h 230"/>
                <a:gd name="T26" fmla="*/ 123 w 235"/>
                <a:gd name="T27" fmla="*/ 97 h 230"/>
                <a:gd name="T28" fmla="*/ 87 w 235"/>
                <a:gd name="T29" fmla="*/ 97 h 230"/>
                <a:gd name="T30" fmla="*/ 87 w 235"/>
                <a:gd name="T31" fmla="*/ 195 h 230"/>
                <a:gd name="T32" fmla="*/ 123 w 235"/>
                <a:gd name="T33" fmla="*/ 189 h 230"/>
                <a:gd name="T34" fmla="*/ 203 w 235"/>
                <a:gd name="T35" fmla="*/ 207 h 230"/>
                <a:gd name="T36" fmla="*/ 216 w 235"/>
                <a:gd name="T37" fmla="*/ 162 h 230"/>
                <a:gd name="T38" fmla="*/ 235 w 235"/>
                <a:gd name="T39" fmla="*/ 170 h 230"/>
                <a:gd name="T40" fmla="*/ 204 w 235"/>
                <a:gd name="T41" fmla="*/ 225 h 230"/>
                <a:gd name="T42" fmla="*/ 166 w 235"/>
                <a:gd name="T43" fmla="*/ 225 h 230"/>
                <a:gd name="T44" fmla="*/ 136 w 235"/>
                <a:gd name="T45" fmla="*/ 190 h 230"/>
                <a:gd name="T46" fmla="*/ 136 w 235"/>
                <a:gd name="T47" fmla="*/ 0 h 230"/>
                <a:gd name="T48" fmla="*/ 156 w 235"/>
                <a:gd name="T49" fmla="*/ 0 h 230"/>
                <a:gd name="T50" fmla="*/ 156 w 235"/>
                <a:gd name="T51" fmla="*/ 93 h 230"/>
                <a:gd name="T52" fmla="*/ 210 w 235"/>
                <a:gd name="T53" fmla="*/ 56 h 230"/>
                <a:gd name="T54" fmla="*/ 226 w 235"/>
                <a:gd name="T55" fmla="*/ 71 h 230"/>
                <a:gd name="T56" fmla="*/ 156 w 235"/>
                <a:gd name="T57" fmla="*/ 112 h 230"/>
                <a:gd name="T58" fmla="*/ 156 w 235"/>
                <a:gd name="T59" fmla="*/ 191 h 230"/>
                <a:gd name="T60" fmla="*/ 168 w 235"/>
                <a:gd name="T61" fmla="*/ 207 h 230"/>
                <a:gd name="T62" fmla="*/ 203 w 235"/>
                <a:gd name="T63" fmla="*/ 207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5" h="230">
                  <a:moveTo>
                    <a:pt x="123" y="189"/>
                  </a:moveTo>
                  <a:cubicBezTo>
                    <a:pt x="125" y="207"/>
                    <a:pt x="125" y="207"/>
                    <a:pt x="125" y="207"/>
                  </a:cubicBezTo>
                  <a:cubicBezTo>
                    <a:pt x="81" y="216"/>
                    <a:pt x="35" y="224"/>
                    <a:pt x="3" y="230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6" y="209"/>
                    <a:pt x="13" y="208"/>
                    <a:pt x="20" y="207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203"/>
                    <a:pt x="39" y="203"/>
                    <a:pt x="39" y="203"/>
                  </a:cubicBezTo>
                  <a:cubicBezTo>
                    <a:pt x="68" y="199"/>
                    <a:pt x="68" y="199"/>
                    <a:pt x="68" y="199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3" y="97"/>
                    <a:pt x="123" y="97"/>
                    <a:pt x="123" y="97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7" y="195"/>
                    <a:pt x="87" y="195"/>
                    <a:pt x="87" y="195"/>
                  </a:cubicBezTo>
                  <a:lnTo>
                    <a:pt x="123" y="189"/>
                  </a:lnTo>
                  <a:close/>
                  <a:moveTo>
                    <a:pt x="203" y="207"/>
                  </a:moveTo>
                  <a:cubicBezTo>
                    <a:pt x="214" y="207"/>
                    <a:pt x="215" y="198"/>
                    <a:pt x="216" y="162"/>
                  </a:cubicBezTo>
                  <a:cubicBezTo>
                    <a:pt x="222" y="165"/>
                    <a:pt x="229" y="169"/>
                    <a:pt x="235" y="170"/>
                  </a:cubicBezTo>
                  <a:cubicBezTo>
                    <a:pt x="232" y="211"/>
                    <a:pt x="227" y="225"/>
                    <a:pt x="204" y="225"/>
                  </a:cubicBezTo>
                  <a:cubicBezTo>
                    <a:pt x="166" y="225"/>
                    <a:pt x="166" y="225"/>
                    <a:pt x="166" y="225"/>
                  </a:cubicBezTo>
                  <a:cubicBezTo>
                    <a:pt x="142" y="225"/>
                    <a:pt x="136" y="218"/>
                    <a:pt x="136" y="19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56" y="93"/>
                    <a:pt x="156" y="93"/>
                    <a:pt x="156" y="93"/>
                  </a:cubicBezTo>
                  <a:cubicBezTo>
                    <a:pt x="176" y="82"/>
                    <a:pt x="197" y="68"/>
                    <a:pt x="210" y="56"/>
                  </a:cubicBezTo>
                  <a:cubicBezTo>
                    <a:pt x="226" y="71"/>
                    <a:pt x="226" y="71"/>
                    <a:pt x="226" y="71"/>
                  </a:cubicBezTo>
                  <a:cubicBezTo>
                    <a:pt x="206" y="85"/>
                    <a:pt x="180" y="100"/>
                    <a:pt x="156" y="112"/>
                  </a:cubicBezTo>
                  <a:cubicBezTo>
                    <a:pt x="156" y="191"/>
                    <a:pt x="156" y="191"/>
                    <a:pt x="156" y="191"/>
                  </a:cubicBezTo>
                  <a:cubicBezTo>
                    <a:pt x="156" y="204"/>
                    <a:pt x="157" y="207"/>
                    <a:pt x="168" y="207"/>
                  </a:cubicBezTo>
                  <a:lnTo>
                    <a:pt x="203" y="2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" name="Freeform 28"/>
            <p:cNvSpPr>
              <a:spLocks noEditPoints="1"/>
            </p:cNvSpPr>
            <p:nvPr/>
          </p:nvSpPr>
          <p:spPr bwMode="auto">
            <a:xfrm>
              <a:off x="20638" y="2647950"/>
              <a:ext cx="427038" cy="441325"/>
            </a:xfrm>
            <a:custGeom>
              <a:avLst/>
              <a:gdLst>
                <a:gd name="T0" fmla="*/ 227 w 227"/>
                <a:gd name="T1" fmla="*/ 118 h 234"/>
                <a:gd name="T2" fmla="*/ 192 w 227"/>
                <a:gd name="T3" fmla="*/ 118 h 234"/>
                <a:gd name="T4" fmla="*/ 192 w 227"/>
                <a:gd name="T5" fmla="*/ 210 h 234"/>
                <a:gd name="T6" fmla="*/ 180 w 227"/>
                <a:gd name="T7" fmla="*/ 230 h 234"/>
                <a:gd name="T8" fmla="*/ 132 w 227"/>
                <a:gd name="T9" fmla="*/ 234 h 234"/>
                <a:gd name="T10" fmla="*/ 125 w 227"/>
                <a:gd name="T11" fmla="*/ 215 h 234"/>
                <a:gd name="T12" fmla="*/ 167 w 227"/>
                <a:gd name="T13" fmla="*/ 216 h 234"/>
                <a:gd name="T14" fmla="*/ 173 w 227"/>
                <a:gd name="T15" fmla="*/ 210 h 234"/>
                <a:gd name="T16" fmla="*/ 173 w 227"/>
                <a:gd name="T17" fmla="*/ 118 h 234"/>
                <a:gd name="T18" fmla="*/ 0 w 227"/>
                <a:gd name="T19" fmla="*/ 118 h 234"/>
                <a:gd name="T20" fmla="*/ 0 w 227"/>
                <a:gd name="T21" fmla="*/ 101 h 234"/>
                <a:gd name="T22" fmla="*/ 227 w 227"/>
                <a:gd name="T23" fmla="*/ 101 h 234"/>
                <a:gd name="T24" fmla="*/ 227 w 227"/>
                <a:gd name="T25" fmla="*/ 118 h 234"/>
                <a:gd name="T26" fmla="*/ 197 w 227"/>
                <a:gd name="T27" fmla="*/ 98 h 234"/>
                <a:gd name="T28" fmla="*/ 107 w 227"/>
                <a:gd name="T29" fmla="*/ 61 h 234"/>
                <a:gd name="T30" fmla="*/ 18 w 227"/>
                <a:gd name="T31" fmla="*/ 99 h 234"/>
                <a:gd name="T32" fmla="*/ 9 w 227"/>
                <a:gd name="T33" fmla="*/ 84 h 234"/>
                <a:gd name="T34" fmla="*/ 98 w 227"/>
                <a:gd name="T35" fmla="*/ 41 h 234"/>
                <a:gd name="T36" fmla="*/ 13 w 227"/>
                <a:gd name="T37" fmla="*/ 41 h 234"/>
                <a:gd name="T38" fmla="*/ 13 w 227"/>
                <a:gd name="T39" fmla="*/ 24 h 234"/>
                <a:gd name="T40" fmla="*/ 103 w 227"/>
                <a:gd name="T41" fmla="*/ 24 h 234"/>
                <a:gd name="T42" fmla="*/ 107 w 227"/>
                <a:gd name="T43" fmla="*/ 0 h 234"/>
                <a:gd name="T44" fmla="*/ 126 w 227"/>
                <a:gd name="T45" fmla="*/ 0 h 234"/>
                <a:gd name="T46" fmla="*/ 123 w 227"/>
                <a:gd name="T47" fmla="*/ 24 h 234"/>
                <a:gd name="T48" fmla="*/ 215 w 227"/>
                <a:gd name="T49" fmla="*/ 24 h 234"/>
                <a:gd name="T50" fmla="*/ 215 w 227"/>
                <a:gd name="T51" fmla="*/ 41 h 234"/>
                <a:gd name="T52" fmla="*/ 118 w 227"/>
                <a:gd name="T53" fmla="*/ 41 h 234"/>
                <a:gd name="T54" fmla="*/ 116 w 227"/>
                <a:gd name="T55" fmla="*/ 47 h 234"/>
                <a:gd name="T56" fmla="*/ 211 w 227"/>
                <a:gd name="T57" fmla="*/ 85 h 234"/>
                <a:gd name="T58" fmla="*/ 197 w 227"/>
                <a:gd name="T59" fmla="*/ 98 h 234"/>
                <a:gd name="T60" fmla="*/ 45 w 227"/>
                <a:gd name="T61" fmla="*/ 204 h 234"/>
                <a:gd name="T62" fmla="*/ 45 w 227"/>
                <a:gd name="T63" fmla="*/ 221 h 234"/>
                <a:gd name="T64" fmla="*/ 27 w 227"/>
                <a:gd name="T65" fmla="*/ 221 h 234"/>
                <a:gd name="T66" fmla="*/ 27 w 227"/>
                <a:gd name="T67" fmla="*/ 138 h 234"/>
                <a:gd name="T68" fmla="*/ 128 w 227"/>
                <a:gd name="T69" fmla="*/ 138 h 234"/>
                <a:gd name="T70" fmla="*/ 128 w 227"/>
                <a:gd name="T71" fmla="*/ 204 h 234"/>
                <a:gd name="T72" fmla="*/ 45 w 227"/>
                <a:gd name="T73" fmla="*/ 204 h 234"/>
                <a:gd name="T74" fmla="*/ 45 w 227"/>
                <a:gd name="T75" fmla="*/ 154 h 234"/>
                <a:gd name="T76" fmla="*/ 45 w 227"/>
                <a:gd name="T77" fmla="*/ 189 h 234"/>
                <a:gd name="T78" fmla="*/ 110 w 227"/>
                <a:gd name="T79" fmla="*/ 189 h 234"/>
                <a:gd name="T80" fmla="*/ 110 w 227"/>
                <a:gd name="T81" fmla="*/ 154 h 234"/>
                <a:gd name="T82" fmla="*/ 45 w 227"/>
                <a:gd name="T83" fmla="*/ 15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27" h="234">
                  <a:moveTo>
                    <a:pt x="227" y="118"/>
                  </a:moveTo>
                  <a:cubicBezTo>
                    <a:pt x="192" y="118"/>
                    <a:pt x="192" y="118"/>
                    <a:pt x="192" y="118"/>
                  </a:cubicBezTo>
                  <a:cubicBezTo>
                    <a:pt x="192" y="210"/>
                    <a:pt x="192" y="210"/>
                    <a:pt x="192" y="210"/>
                  </a:cubicBezTo>
                  <a:cubicBezTo>
                    <a:pt x="192" y="222"/>
                    <a:pt x="189" y="227"/>
                    <a:pt x="180" y="230"/>
                  </a:cubicBezTo>
                  <a:cubicBezTo>
                    <a:pt x="171" y="233"/>
                    <a:pt x="155" y="234"/>
                    <a:pt x="132" y="234"/>
                  </a:cubicBezTo>
                  <a:cubicBezTo>
                    <a:pt x="131" y="228"/>
                    <a:pt x="127" y="221"/>
                    <a:pt x="125" y="215"/>
                  </a:cubicBezTo>
                  <a:cubicBezTo>
                    <a:pt x="144" y="216"/>
                    <a:pt x="162" y="216"/>
                    <a:pt x="167" y="216"/>
                  </a:cubicBezTo>
                  <a:cubicBezTo>
                    <a:pt x="172" y="215"/>
                    <a:pt x="173" y="214"/>
                    <a:pt x="173" y="210"/>
                  </a:cubicBezTo>
                  <a:cubicBezTo>
                    <a:pt x="173" y="118"/>
                    <a:pt x="173" y="118"/>
                    <a:pt x="173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227" y="101"/>
                    <a:pt x="227" y="101"/>
                    <a:pt x="227" y="101"/>
                  </a:cubicBezTo>
                  <a:lnTo>
                    <a:pt x="227" y="118"/>
                  </a:lnTo>
                  <a:close/>
                  <a:moveTo>
                    <a:pt x="197" y="98"/>
                  </a:moveTo>
                  <a:cubicBezTo>
                    <a:pt x="176" y="88"/>
                    <a:pt x="139" y="72"/>
                    <a:pt x="107" y="61"/>
                  </a:cubicBezTo>
                  <a:cubicBezTo>
                    <a:pt x="92" y="80"/>
                    <a:pt x="65" y="92"/>
                    <a:pt x="18" y="99"/>
                  </a:cubicBezTo>
                  <a:cubicBezTo>
                    <a:pt x="16" y="95"/>
                    <a:pt x="12" y="88"/>
                    <a:pt x="9" y="84"/>
                  </a:cubicBezTo>
                  <a:cubicBezTo>
                    <a:pt x="63" y="77"/>
                    <a:pt x="87" y="64"/>
                    <a:pt x="98" y="41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17"/>
                    <a:pt x="106" y="9"/>
                    <a:pt x="107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5" y="9"/>
                    <a:pt x="124" y="17"/>
                    <a:pt x="123" y="24"/>
                  </a:cubicBezTo>
                  <a:cubicBezTo>
                    <a:pt x="215" y="24"/>
                    <a:pt x="215" y="24"/>
                    <a:pt x="215" y="24"/>
                  </a:cubicBezTo>
                  <a:cubicBezTo>
                    <a:pt x="215" y="41"/>
                    <a:pt x="215" y="41"/>
                    <a:pt x="215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7" y="43"/>
                    <a:pt x="116" y="45"/>
                    <a:pt x="116" y="47"/>
                  </a:cubicBezTo>
                  <a:cubicBezTo>
                    <a:pt x="148" y="58"/>
                    <a:pt x="188" y="74"/>
                    <a:pt x="211" y="85"/>
                  </a:cubicBezTo>
                  <a:lnTo>
                    <a:pt x="197" y="98"/>
                  </a:lnTo>
                  <a:close/>
                  <a:moveTo>
                    <a:pt x="45" y="204"/>
                  </a:moveTo>
                  <a:cubicBezTo>
                    <a:pt x="45" y="221"/>
                    <a:pt x="45" y="221"/>
                    <a:pt x="45" y="221"/>
                  </a:cubicBezTo>
                  <a:cubicBezTo>
                    <a:pt x="27" y="221"/>
                    <a:pt x="27" y="221"/>
                    <a:pt x="27" y="221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8" y="204"/>
                    <a:pt x="128" y="204"/>
                    <a:pt x="128" y="204"/>
                  </a:cubicBezTo>
                  <a:lnTo>
                    <a:pt x="45" y="204"/>
                  </a:lnTo>
                  <a:close/>
                  <a:moveTo>
                    <a:pt x="45" y="154"/>
                  </a:moveTo>
                  <a:cubicBezTo>
                    <a:pt x="45" y="189"/>
                    <a:pt x="45" y="189"/>
                    <a:pt x="45" y="189"/>
                  </a:cubicBezTo>
                  <a:cubicBezTo>
                    <a:pt x="110" y="189"/>
                    <a:pt x="110" y="189"/>
                    <a:pt x="110" y="189"/>
                  </a:cubicBezTo>
                  <a:cubicBezTo>
                    <a:pt x="110" y="154"/>
                    <a:pt x="110" y="154"/>
                    <a:pt x="110" y="154"/>
                  </a:cubicBezTo>
                  <a:lnTo>
                    <a:pt x="45" y="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" name="Freeform 29"/>
            <p:cNvSpPr>
              <a:spLocks noEditPoints="1"/>
            </p:cNvSpPr>
            <p:nvPr/>
          </p:nvSpPr>
          <p:spPr bwMode="auto">
            <a:xfrm>
              <a:off x="496888" y="2647950"/>
              <a:ext cx="434975" cy="438150"/>
            </a:xfrm>
            <a:custGeom>
              <a:avLst/>
              <a:gdLst>
                <a:gd name="T0" fmla="*/ 88 w 231"/>
                <a:gd name="T1" fmla="*/ 54 h 233"/>
                <a:gd name="T2" fmla="*/ 66 w 231"/>
                <a:gd name="T3" fmla="*/ 165 h 233"/>
                <a:gd name="T4" fmla="*/ 92 w 231"/>
                <a:gd name="T5" fmla="*/ 188 h 233"/>
                <a:gd name="T6" fmla="*/ 80 w 231"/>
                <a:gd name="T7" fmla="*/ 202 h 233"/>
                <a:gd name="T8" fmla="*/ 58 w 231"/>
                <a:gd name="T9" fmla="*/ 181 h 233"/>
                <a:gd name="T10" fmla="*/ 11 w 231"/>
                <a:gd name="T11" fmla="*/ 233 h 233"/>
                <a:gd name="T12" fmla="*/ 0 w 231"/>
                <a:gd name="T13" fmla="*/ 218 h 233"/>
                <a:gd name="T14" fmla="*/ 44 w 231"/>
                <a:gd name="T15" fmla="*/ 169 h 233"/>
                <a:gd name="T16" fmla="*/ 6 w 231"/>
                <a:gd name="T17" fmla="*/ 139 h 233"/>
                <a:gd name="T18" fmla="*/ 24 w 231"/>
                <a:gd name="T19" fmla="*/ 70 h 233"/>
                <a:gd name="T20" fmla="*/ 0 w 231"/>
                <a:gd name="T21" fmla="*/ 70 h 233"/>
                <a:gd name="T22" fmla="*/ 0 w 231"/>
                <a:gd name="T23" fmla="*/ 53 h 233"/>
                <a:gd name="T24" fmla="*/ 28 w 231"/>
                <a:gd name="T25" fmla="*/ 53 h 233"/>
                <a:gd name="T26" fmla="*/ 36 w 231"/>
                <a:gd name="T27" fmla="*/ 0 h 233"/>
                <a:gd name="T28" fmla="*/ 54 w 231"/>
                <a:gd name="T29" fmla="*/ 2 h 233"/>
                <a:gd name="T30" fmla="*/ 45 w 231"/>
                <a:gd name="T31" fmla="*/ 53 h 233"/>
                <a:gd name="T32" fmla="*/ 74 w 231"/>
                <a:gd name="T33" fmla="*/ 53 h 233"/>
                <a:gd name="T34" fmla="*/ 77 w 231"/>
                <a:gd name="T35" fmla="*/ 52 h 233"/>
                <a:gd name="T36" fmla="*/ 88 w 231"/>
                <a:gd name="T37" fmla="*/ 54 h 233"/>
                <a:gd name="T38" fmla="*/ 42 w 231"/>
                <a:gd name="T39" fmla="*/ 70 h 233"/>
                <a:gd name="T40" fmla="*/ 26 w 231"/>
                <a:gd name="T41" fmla="*/ 133 h 233"/>
                <a:gd name="T42" fmla="*/ 52 w 231"/>
                <a:gd name="T43" fmla="*/ 153 h 233"/>
                <a:gd name="T44" fmla="*/ 70 w 231"/>
                <a:gd name="T45" fmla="*/ 70 h 233"/>
                <a:gd name="T46" fmla="*/ 42 w 231"/>
                <a:gd name="T47" fmla="*/ 70 h 233"/>
                <a:gd name="T48" fmla="*/ 219 w 231"/>
                <a:gd name="T49" fmla="*/ 130 h 233"/>
                <a:gd name="T50" fmla="*/ 91 w 231"/>
                <a:gd name="T51" fmla="*/ 233 h 233"/>
                <a:gd name="T52" fmla="*/ 80 w 231"/>
                <a:gd name="T53" fmla="*/ 216 h 233"/>
                <a:gd name="T54" fmla="*/ 202 w 231"/>
                <a:gd name="T55" fmla="*/ 125 h 233"/>
                <a:gd name="T56" fmla="*/ 219 w 231"/>
                <a:gd name="T57" fmla="*/ 130 h 233"/>
                <a:gd name="T58" fmla="*/ 133 w 231"/>
                <a:gd name="T59" fmla="*/ 47 h 233"/>
                <a:gd name="T60" fmla="*/ 112 w 231"/>
                <a:gd name="T61" fmla="*/ 128 h 233"/>
                <a:gd name="T62" fmla="*/ 96 w 231"/>
                <a:gd name="T63" fmla="*/ 120 h 233"/>
                <a:gd name="T64" fmla="*/ 116 w 231"/>
                <a:gd name="T65" fmla="*/ 44 h 233"/>
                <a:gd name="T66" fmla="*/ 133 w 231"/>
                <a:gd name="T67" fmla="*/ 47 h 233"/>
                <a:gd name="T68" fmla="*/ 169 w 231"/>
                <a:gd name="T69" fmla="*/ 157 h 233"/>
                <a:gd name="T70" fmla="*/ 151 w 231"/>
                <a:gd name="T71" fmla="*/ 157 h 233"/>
                <a:gd name="T72" fmla="*/ 151 w 231"/>
                <a:gd name="T73" fmla="*/ 0 h 233"/>
                <a:gd name="T74" fmla="*/ 169 w 231"/>
                <a:gd name="T75" fmla="*/ 0 h 233"/>
                <a:gd name="T76" fmla="*/ 169 w 231"/>
                <a:gd name="T77" fmla="*/ 157 h 233"/>
                <a:gd name="T78" fmla="*/ 214 w 231"/>
                <a:gd name="T79" fmla="*/ 115 h 233"/>
                <a:gd name="T80" fmla="*/ 186 w 231"/>
                <a:gd name="T81" fmla="*/ 46 h 233"/>
                <a:gd name="T82" fmla="*/ 202 w 231"/>
                <a:gd name="T83" fmla="*/ 40 h 233"/>
                <a:gd name="T84" fmla="*/ 231 w 231"/>
                <a:gd name="T85" fmla="*/ 109 h 233"/>
                <a:gd name="T86" fmla="*/ 214 w 231"/>
                <a:gd name="T87" fmla="*/ 115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1" h="233">
                  <a:moveTo>
                    <a:pt x="88" y="54"/>
                  </a:moveTo>
                  <a:cubicBezTo>
                    <a:pt x="85" y="100"/>
                    <a:pt x="78" y="137"/>
                    <a:pt x="66" y="165"/>
                  </a:cubicBezTo>
                  <a:cubicBezTo>
                    <a:pt x="76" y="173"/>
                    <a:pt x="86" y="181"/>
                    <a:pt x="92" y="188"/>
                  </a:cubicBezTo>
                  <a:cubicBezTo>
                    <a:pt x="80" y="202"/>
                    <a:pt x="80" y="202"/>
                    <a:pt x="80" y="202"/>
                  </a:cubicBezTo>
                  <a:cubicBezTo>
                    <a:pt x="74" y="197"/>
                    <a:pt x="67" y="189"/>
                    <a:pt x="58" y="181"/>
                  </a:cubicBezTo>
                  <a:cubicBezTo>
                    <a:pt x="46" y="204"/>
                    <a:pt x="30" y="221"/>
                    <a:pt x="11" y="233"/>
                  </a:cubicBezTo>
                  <a:cubicBezTo>
                    <a:pt x="9" y="228"/>
                    <a:pt x="4" y="222"/>
                    <a:pt x="0" y="218"/>
                  </a:cubicBezTo>
                  <a:cubicBezTo>
                    <a:pt x="18" y="208"/>
                    <a:pt x="33" y="192"/>
                    <a:pt x="44" y="169"/>
                  </a:cubicBezTo>
                  <a:cubicBezTo>
                    <a:pt x="32" y="159"/>
                    <a:pt x="18" y="148"/>
                    <a:pt x="6" y="139"/>
                  </a:cubicBezTo>
                  <a:cubicBezTo>
                    <a:pt x="12" y="121"/>
                    <a:pt x="18" y="96"/>
                    <a:pt x="24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31" y="34"/>
                    <a:pt x="34" y="17"/>
                    <a:pt x="36" y="0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2" y="18"/>
                    <a:pt x="49" y="35"/>
                    <a:pt x="45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7" y="52"/>
                    <a:pt x="77" y="52"/>
                    <a:pt x="77" y="52"/>
                  </a:cubicBezTo>
                  <a:lnTo>
                    <a:pt x="88" y="54"/>
                  </a:lnTo>
                  <a:close/>
                  <a:moveTo>
                    <a:pt x="42" y="70"/>
                  </a:moveTo>
                  <a:cubicBezTo>
                    <a:pt x="36" y="93"/>
                    <a:pt x="31" y="115"/>
                    <a:pt x="26" y="133"/>
                  </a:cubicBezTo>
                  <a:cubicBezTo>
                    <a:pt x="34" y="140"/>
                    <a:pt x="43" y="146"/>
                    <a:pt x="52" y="153"/>
                  </a:cubicBezTo>
                  <a:cubicBezTo>
                    <a:pt x="60" y="130"/>
                    <a:pt x="67" y="103"/>
                    <a:pt x="70" y="70"/>
                  </a:cubicBezTo>
                  <a:lnTo>
                    <a:pt x="42" y="70"/>
                  </a:lnTo>
                  <a:close/>
                  <a:moveTo>
                    <a:pt x="219" y="130"/>
                  </a:moveTo>
                  <a:cubicBezTo>
                    <a:pt x="200" y="185"/>
                    <a:pt x="157" y="217"/>
                    <a:pt x="91" y="233"/>
                  </a:cubicBezTo>
                  <a:cubicBezTo>
                    <a:pt x="89" y="227"/>
                    <a:pt x="84" y="220"/>
                    <a:pt x="80" y="216"/>
                  </a:cubicBezTo>
                  <a:cubicBezTo>
                    <a:pt x="143" y="203"/>
                    <a:pt x="183" y="174"/>
                    <a:pt x="202" y="125"/>
                  </a:cubicBezTo>
                  <a:lnTo>
                    <a:pt x="219" y="130"/>
                  </a:lnTo>
                  <a:close/>
                  <a:moveTo>
                    <a:pt x="133" y="47"/>
                  </a:moveTo>
                  <a:cubicBezTo>
                    <a:pt x="129" y="77"/>
                    <a:pt x="121" y="108"/>
                    <a:pt x="112" y="128"/>
                  </a:cubicBezTo>
                  <a:cubicBezTo>
                    <a:pt x="108" y="126"/>
                    <a:pt x="100" y="122"/>
                    <a:pt x="96" y="120"/>
                  </a:cubicBezTo>
                  <a:cubicBezTo>
                    <a:pt x="105" y="101"/>
                    <a:pt x="112" y="72"/>
                    <a:pt x="116" y="44"/>
                  </a:cubicBezTo>
                  <a:lnTo>
                    <a:pt x="133" y="47"/>
                  </a:lnTo>
                  <a:close/>
                  <a:moveTo>
                    <a:pt x="169" y="157"/>
                  </a:moveTo>
                  <a:cubicBezTo>
                    <a:pt x="151" y="157"/>
                    <a:pt x="151" y="157"/>
                    <a:pt x="151" y="157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69" y="0"/>
                    <a:pt x="169" y="0"/>
                    <a:pt x="169" y="0"/>
                  </a:cubicBezTo>
                  <a:lnTo>
                    <a:pt x="169" y="157"/>
                  </a:lnTo>
                  <a:close/>
                  <a:moveTo>
                    <a:pt x="214" y="115"/>
                  </a:moveTo>
                  <a:cubicBezTo>
                    <a:pt x="209" y="96"/>
                    <a:pt x="198" y="67"/>
                    <a:pt x="186" y="46"/>
                  </a:cubicBezTo>
                  <a:cubicBezTo>
                    <a:pt x="202" y="40"/>
                    <a:pt x="202" y="40"/>
                    <a:pt x="202" y="40"/>
                  </a:cubicBezTo>
                  <a:cubicBezTo>
                    <a:pt x="214" y="62"/>
                    <a:pt x="226" y="90"/>
                    <a:pt x="231" y="109"/>
                  </a:cubicBezTo>
                  <a:lnTo>
                    <a:pt x="214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41984237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46149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  <p:sldLayoutId id="2147483730" r:id="rId31"/>
    <p:sldLayoutId id="2147483731" r:id="rId32"/>
    <p:sldLayoutId id="2147483732" r:id="rId33"/>
    <p:sldLayoutId id="2147483733" r:id="rId34"/>
    <p:sldLayoutId id="2147483734" r:id="rId35"/>
    <p:sldLayoutId id="2147483735" r:id="rId36"/>
    <p:sldLayoutId id="2147483736" r:id="rId37"/>
    <p:sldLayoutId id="2147483737" r:id="rId38"/>
    <p:sldLayoutId id="2147483738" r:id="rId39"/>
    <p:sldLayoutId id="2147483739" r:id="rId40"/>
    <p:sldLayoutId id="2147483740" r:id="rId41"/>
    <p:sldLayoutId id="2147483741" r:id="rId42"/>
    <p:sldLayoutId id="2147483742" r:id="rId43"/>
    <p:sldLayoutId id="2147483743" r:id="rId44"/>
    <p:sldLayoutId id="2147483746" r:id="rId45"/>
    <p:sldLayoutId id="2147483747" r:id="rId46"/>
    <p:sldLayoutId id="2147483753" r:id="rId47"/>
    <p:sldLayoutId id="2147483766" r:id="rId48"/>
    <p:sldLayoutId id="2147483768" r:id="rId49"/>
    <p:sldLayoutId id="2147483769" r:id="rId50"/>
    <p:sldLayoutId id="2147483771" r:id="rId51"/>
    <p:sldLayoutId id="2147483775" r:id="rId5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5569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  <p:sldLayoutId id="2147483718" r:id="rId22"/>
    <p:sldLayoutId id="2147483719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4"/>
          </p:nvPr>
        </p:nvSpPr>
        <p:spPr>
          <a:xfrm>
            <a:off x="855662" y="3757939"/>
            <a:ext cx="8580438" cy="646331"/>
          </a:xfrm>
        </p:spPr>
        <p:txBody>
          <a:bodyPr/>
          <a:lstStyle/>
          <a:p>
            <a:r>
              <a:rPr lang="zh-CN" altLang="en-US" dirty="0"/>
              <a:t>产品商品</a:t>
            </a:r>
            <a:r>
              <a:rPr lang="zh-CN" altLang="en-US" dirty="0" smtClean="0"/>
              <a:t>企划模板</a:t>
            </a:r>
            <a:endParaRPr lang="zh-CN" altLang="en-US" dirty="0"/>
          </a:p>
        </p:txBody>
      </p:sp>
      <p:pic>
        <p:nvPicPr>
          <p:cNvPr id="4" name="图片占位符 3"/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5372C6F8-7C1E-4023-899A-2492EC0A81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商业目标与业务发展策略</a:t>
            </a:r>
          </a:p>
        </p:txBody>
      </p:sp>
    </p:spTree>
    <p:extLst>
      <p:ext uri="{BB962C8B-B14F-4D97-AF65-F5344CB8AC3E}">
        <p14:creationId xmlns:p14="http://schemas.microsoft.com/office/powerpoint/2010/main" val="32170088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69B9D65-A2E2-4967-9B4D-F470C580F2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zh-CN" altLang="en-US" dirty="0"/>
              <a:t>整体思路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5A4FA3CA-1F49-43C5-B5C4-1197C4D9682D}"/>
              </a:ext>
            </a:extLst>
          </p:cNvPr>
          <p:cNvSpPr/>
          <p:nvPr/>
        </p:nvSpPr>
        <p:spPr>
          <a:xfrm>
            <a:off x="900549" y="2438399"/>
            <a:ext cx="2632364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制定短期及中长期</a:t>
            </a:r>
            <a:endParaRPr lang="en-US" altLang="zh-CN" dirty="0" smtClean="0"/>
          </a:p>
          <a:p>
            <a:pPr algn="ctr"/>
            <a:r>
              <a:rPr lang="zh-CN" altLang="en-US" dirty="0" smtClean="0"/>
              <a:t>商业</a:t>
            </a:r>
            <a:r>
              <a:rPr lang="zh-CN" altLang="en-US" dirty="0"/>
              <a:t>目标</a:t>
            </a: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21AB1C55-491A-4CDF-A879-2FFBA5C61B71}"/>
              </a:ext>
            </a:extLst>
          </p:cNvPr>
          <p:cNvSpPr/>
          <p:nvPr/>
        </p:nvSpPr>
        <p:spPr>
          <a:xfrm>
            <a:off x="711204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BA64AFD2-41F9-4444-990D-C672ACA08AB5}"/>
              </a:ext>
            </a:extLst>
          </p:cNvPr>
          <p:cNvSpPr/>
          <p:nvPr/>
        </p:nvSpPr>
        <p:spPr>
          <a:xfrm>
            <a:off x="4433457" y="2438399"/>
            <a:ext cx="2798616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营销策略</a:t>
            </a:r>
          </a:p>
        </p:txBody>
      </p:sp>
      <p:sp>
        <p:nvSpPr>
          <p:cNvPr id="55" name="椭圆 54">
            <a:extLst>
              <a:ext uri="{FF2B5EF4-FFF2-40B4-BE49-F238E27FC236}">
                <a16:creationId xmlns:a16="http://schemas.microsoft.com/office/drawing/2014/main" id="{28D0E38E-0817-4CE6-850A-0A5097198712}"/>
              </a:ext>
            </a:extLst>
          </p:cNvPr>
          <p:cNvSpPr/>
          <p:nvPr/>
        </p:nvSpPr>
        <p:spPr>
          <a:xfrm>
            <a:off x="4244112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3C66D5B3-3A2D-4317-8D67-8456BD21316E}"/>
              </a:ext>
            </a:extLst>
          </p:cNvPr>
          <p:cNvSpPr/>
          <p:nvPr/>
        </p:nvSpPr>
        <p:spPr>
          <a:xfrm>
            <a:off x="8275785" y="2438399"/>
            <a:ext cx="2798616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客户发展计划</a:t>
            </a:r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D2DB7C4D-7482-4378-839E-E4381603FEA6}"/>
              </a:ext>
            </a:extLst>
          </p:cNvPr>
          <p:cNvSpPr/>
          <p:nvPr/>
        </p:nvSpPr>
        <p:spPr>
          <a:xfrm>
            <a:off x="8086440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3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831075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5372C6F8-7C1E-4023-899A-2492EC0A81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行业现状与市场分析</a:t>
            </a:r>
          </a:p>
        </p:txBody>
      </p:sp>
    </p:spTree>
    <p:extLst>
      <p:ext uri="{BB962C8B-B14F-4D97-AF65-F5344CB8AC3E}">
        <p14:creationId xmlns:p14="http://schemas.microsoft.com/office/powerpoint/2010/main" val="13596672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69B9D65-A2E2-4967-9B4D-F470C580F2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zh-CN" altLang="en-US" dirty="0"/>
              <a:t>整体思路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5A4FA3CA-1F49-43C5-B5C4-1197C4D9682D}"/>
              </a:ext>
            </a:extLst>
          </p:cNvPr>
          <p:cNvSpPr/>
          <p:nvPr/>
        </p:nvSpPr>
        <p:spPr>
          <a:xfrm>
            <a:off x="1002145" y="2438399"/>
            <a:ext cx="2272146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宏观市场环境分析</a:t>
            </a:r>
            <a:endParaRPr lang="en-US" altLang="zh-CN" dirty="0"/>
          </a:p>
          <a:p>
            <a:pPr algn="ctr"/>
            <a:r>
              <a:rPr lang="en-US" altLang="zh-CN" dirty="0"/>
              <a:t>PEST</a:t>
            </a:r>
            <a:endParaRPr lang="zh-CN" altLang="en-US" dirty="0"/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21AB1C55-491A-4CDF-A879-2FFBA5C61B71}"/>
              </a:ext>
            </a:extLst>
          </p:cNvPr>
          <p:cNvSpPr/>
          <p:nvPr/>
        </p:nvSpPr>
        <p:spPr>
          <a:xfrm>
            <a:off x="812800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BA64AFD2-41F9-4444-990D-C672ACA08AB5}"/>
              </a:ext>
            </a:extLst>
          </p:cNvPr>
          <p:cNvSpPr/>
          <p:nvPr/>
        </p:nvSpPr>
        <p:spPr>
          <a:xfrm>
            <a:off x="3823854" y="2438399"/>
            <a:ext cx="2272146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市场</a:t>
            </a:r>
            <a:r>
              <a:rPr lang="zh-CN" altLang="en-US" dirty="0"/>
              <a:t>整体规模</a:t>
            </a:r>
          </a:p>
        </p:txBody>
      </p:sp>
      <p:sp>
        <p:nvSpPr>
          <p:cNvPr id="55" name="椭圆 54">
            <a:extLst>
              <a:ext uri="{FF2B5EF4-FFF2-40B4-BE49-F238E27FC236}">
                <a16:creationId xmlns:a16="http://schemas.microsoft.com/office/drawing/2014/main" id="{28D0E38E-0817-4CE6-850A-0A5097198712}"/>
              </a:ext>
            </a:extLst>
          </p:cNvPr>
          <p:cNvSpPr/>
          <p:nvPr/>
        </p:nvSpPr>
        <p:spPr>
          <a:xfrm>
            <a:off x="3634509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47E7A0BE-66DF-4AF8-B751-B1A09B0FA94C}"/>
              </a:ext>
            </a:extLst>
          </p:cNvPr>
          <p:cNvSpPr/>
          <p:nvPr/>
        </p:nvSpPr>
        <p:spPr>
          <a:xfrm>
            <a:off x="6645563" y="2438399"/>
            <a:ext cx="2272146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市场</a:t>
            </a:r>
            <a:r>
              <a:rPr lang="zh-CN" altLang="en-US" dirty="0"/>
              <a:t>生态链分析</a:t>
            </a:r>
          </a:p>
        </p:txBody>
      </p:sp>
      <p:sp>
        <p:nvSpPr>
          <p:cNvPr id="57" name="椭圆 56">
            <a:extLst>
              <a:ext uri="{FF2B5EF4-FFF2-40B4-BE49-F238E27FC236}">
                <a16:creationId xmlns:a16="http://schemas.microsoft.com/office/drawing/2014/main" id="{25E4038C-BD35-4C7C-9E01-843E50202C22}"/>
              </a:ext>
            </a:extLst>
          </p:cNvPr>
          <p:cNvSpPr/>
          <p:nvPr/>
        </p:nvSpPr>
        <p:spPr>
          <a:xfrm>
            <a:off x="6456218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AD5BD292-FFFE-468A-AD03-9D008BAEA883}"/>
              </a:ext>
            </a:extLst>
          </p:cNvPr>
          <p:cNvSpPr/>
          <p:nvPr/>
        </p:nvSpPr>
        <p:spPr>
          <a:xfrm>
            <a:off x="9467272" y="2438399"/>
            <a:ext cx="2272146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PAN</a:t>
            </a:r>
            <a:r>
              <a:rPr lang="zh-CN" altLang="en-US" dirty="0" smtClean="0"/>
              <a:t>及</a:t>
            </a:r>
            <a:r>
              <a:rPr lang="en-US" altLang="zh-CN" dirty="0" smtClean="0"/>
              <a:t>STP</a:t>
            </a:r>
            <a:r>
              <a:rPr lang="zh-CN" altLang="en-US" dirty="0"/>
              <a:t>分析</a:t>
            </a:r>
          </a:p>
        </p:txBody>
      </p:sp>
      <p:sp>
        <p:nvSpPr>
          <p:cNvPr id="59" name="椭圆 58">
            <a:extLst>
              <a:ext uri="{FF2B5EF4-FFF2-40B4-BE49-F238E27FC236}">
                <a16:creationId xmlns:a16="http://schemas.microsoft.com/office/drawing/2014/main" id="{521117E9-C2D2-49EF-BA64-3AA1FFE5AD16}"/>
              </a:ext>
            </a:extLst>
          </p:cNvPr>
          <p:cNvSpPr/>
          <p:nvPr/>
        </p:nvSpPr>
        <p:spPr>
          <a:xfrm>
            <a:off x="9277927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4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200396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5372C6F8-7C1E-4023-899A-2492EC0A81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>
            <a:normAutofit/>
          </a:bodyPr>
          <a:lstStyle/>
          <a:p>
            <a:r>
              <a:rPr lang="zh-CN" altLang="en-US" dirty="0"/>
              <a:t>竞争分析</a:t>
            </a:r>
          </a:p>
        </p:txBody>
      </p:sp>
    </p:spTree>
    <p:extLst>
      <p:ext uri="{BB962C8B-B14F-4D97-AF65-F5344CB8AC3E}">
        <p14:creationId xmlns:p14="http://schemas.microsoft.com/office/powerpoint/2010/main" val="24753777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69B9D65-A2E2-4967-9B4D-F470C580F2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zh-CN" altLang="en-US" dirty="0"/>
              <a:t>整体思路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5A4FA3CA-1F49-43C5-B5C4-1197C4D9682D}"/>
              </a:ext>
            </a:extLst>
          </p:cNvPr>
          <p:cNvSpPr/>
          <p:nvPr/>
        </p:nvSpPr>
        <p:spPr>
          <a:xfrm>
            <a:off x="900549" y="2438399"/>
            <a:ext cx="2272146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竞争对手位序和占比</a:t>
            </a: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21AB1C55-491A-4CDF-A879-2FFBA5C61B71}"/>
              </a:ext>
            </a:extLst>
          </p:cNvPr>
          <p:cNvSpPr/>
          <p:nvPr/>
        </p:nvSpPr>
        <p:spPr>
          <a:xfrm>
            <a:off x="711204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BA64AFD2-41F9-4444-990D-C672ACA08AB5}"/>
              </a:ext>
            </a:extLst>
          </p:cNvPr>
          <p:cNvSpPr/>
          <p:nvPr/>
        </p:nvSpPr>
        <p:spPr>
          <a:xfrm>
            <a:off x="3722258" y="2438399"/>
            <a:ext cx="2272146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竞争对手重点客户和区域</a:t>
            </a:r>
          </a:p>
        </p:txBody>
      </p:sp>
      <p:sp>
        <p:nvSpPr>
          <p:cNvPr id="55" name="椭圆 54">
            <a:extLst>
              <a:ext uri="{FF2B5EF4-FFF2-40B4-BE49-F238E27FC236}">
                <a16:creationId xmlns:a16="http://schemas.microsoft.com/office/drawing/2014/main" id="{28D0E38E-0817-4CE6-850A-0A5097198712}"/>
              </a:ext>
            </a:extLst>
          </p:cNvPr>
          <p:cNvSpPr/>
          <p:nvPr/>
        </p:nvSpPr>
        <p:spPr>
          <a:xfrm>
            <a:off x="3532913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47E7A0BE-66DF-4AF8-B751-B1A09B0FA94C}"/>
              </a:ext>
            </a:extLst>
          </p:cNvPr>
          <p:cNvSpPr/>
          <p:nvPr/>
        </p:nvSpPr>
        <p:spPr>
          <a:xfrm>
            <a:off x="6543967" y="2438399"/>
            <a:ext cx="2272146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竞争对手的竞争能力</a:t>
            </a:r>
          </a:p>
        </p:txBody>
      </p:sp>
      <p:sp>
        <p:nvSpPr>
          <p:cNvPr id="57" name="椭圆 56">
            <a:extLst>
              <a:ext uri="{FF2B5EF4-FFF2-40B4-BE49-F238E27FC236}">
                <a16:creationId xmlns:a16="http://schemas.microsoft.com/office/drawing/2014/main" id="{25E4038C-BD35-4C7C-9E01-843E50202C22}"/>
              </a:ext>
            </a:extLst>
          </p:cNvPr>
          <p:cNvSpPr/>
          <p:nvPr/>
        </p:nvSpPr>
        <p:spPr>
          <a:xfrm>
            <a:off x="6354622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AD5BD292-FFFE-468A-AD03-9D008BAEA883}"/>
              </a:ext>
            </a:extLst>
          </p:cNvPr>
          <p:cNvSpPr/>
          <p:nvPr/>
        </p:nvSpPr>
        <p:spPr>
          <a:xfrm>
            <a:off x="9365676" y="2438399"/>
            <a:ext cx="2272146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与竞争对手对比优劣势，包括功能对比</a:t>
            </a:r>
          </a:p>
        </p:txBody>
      </p:sp>
      <p:sp>
        <p:nvSpPr>
          <p:cNvPr id="59" name="椭圆 58">
            <a:extLst>
              <a:ext uri="{FF2B5EF4-FFF2-40B4-BE49-F238E27FC236}">
                <a16:creationId xmlns:a16="http://schemas.microsoft.com/office/drawing/2014/main" id="{521117E9-C2D2-49EF-BA64-3AA1FFE5AD16}"/>
              </a:ext>
            </a:extLst>
          </p:cNvPr>
          <p:cNvSpPr/>
          <p:nvPr/>
        </p:nvSpPr>
        <p:spPr>
          <a:xfrm>
            <a:off x="9176331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4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140342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5372C6F8-7C1E-4023-899A-2492EC0A81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用户需求分析</a:t>
            </a:r>
          </a:p>
        </p:txBody>
      </p:sp>
    </p:spTree>
    <p:extLst>
      <p:ext uri="{BB962C8B-B14F-4D97-AF65-F5344CB8AC3E}">
        <p14:creationId xmlns:p14="http://schemas.microsoft.com/office/powerpoint/2010/main" val="24040257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69B9D65-A2E2-4967-9B4D-F470C580F2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zh-CN" altLang="en-US" dirty="0"/>
              <a:t>整体思路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5A4FA3CA-1F49-43C5-B5C4-1197C4D9682D}"/>
              </a:ext>
            </a:extLst>
          </p:cNvPr>
          <p:cNvSpPr/>
          <p:nvPr/>
        </p:nvSpPr>
        <p:spPr>
          <a:xfrm>
            <a:off x="900549" y="2438399"/>
            <a:ext cx="2272146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用户客户</a:t>
            </a:r>
            <a:r>
              <a:rPr lang="zh-CN" altLang="en-US" dirty="0" smtClean="0"/>
              <a:t>故事</a:t>
            </a:r>
            <a:endParaRPr lang="en-US" altLang="zh-CN" dirty="0" smtClean="0"/>
          </a:p>
          <a:p>
            <a:pPr algn="ctr"/>
            <a:r>
              <a:rPr lang="zh-CN" altLang="en-US" dirty="0" smtClean="0"/>
              <a:t>（</a:t>
            </a:r>
            <a:r>
              <a:rPr lang="zh-CN" altLang="en-US" dirty="0"/>
              <a:t>使用场景）</a:t>
            </a: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21AB1C55-491A-4CDF-A879-2FFBA5C61B71}"/>
              </a:ext>
            </a:extLst>
          </p:cNvPr>
          <p:cNvSpPr/>
          <p:nvPr/>
        </p:nvSpPr>
        <p:spPr>
          <a:xfrm>
            <a:off x="711204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BA64AFD2-41F9-4444-990D-C672ACA08AB5}"/>
              </a:ext>
            </a:extLst>
          </p:cNvPr>
          <p:cNvSpPr/>
          <p:nvPr/>
        </p:nvSpPr>
        <p:spPr>
          <a:xfrm>
            <a:off x="3722258" y="2438399"/>
            <a:ext cx="2272146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对应功能</a:t>
            </a:r>
            <a:r>
              <a:rPr lang="zh-CN" altLang="en-US" dirty="0"/>
              <a:t>特性</a:t>
            </a:r>
            <a:endParaRPr lang="zh-CN" altLang="en-US" dirty="0"/>
          </a:p>
        </p:txBody>
      </p:sp>
      <p:sp>
        <p:nvSpPr>
          <p:cNvPr id="55" name="椭圆 54">
            <a:extLst>
              <a:ext uri="{FF2B5EF4-FFF2-40B4-BE49-F238E27FC236}">
                <a16:creationId xmlns:a16="http://schemas.microsoft.com/office/drawing/2014/main" id="{28D0E38E-0817-4CE6-850A-0A5097198712}"/>
              </a:ext>
            </a:extLst>
          </p:cNvPr>
          <p:cNvSpPr/>
          <p:nvPr/>
        </p:nvSpPr>
        <p:spPr>
          <a:xfrm>
            <a:off x="3532913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47E7A0BE-66DF-4AF8-B751-B1A09B0FA94C}"/>
              </a:ext>
            </a:extLst>
          </p:cNvPr>
          <p:cNvSpPr/>
          <p:nvPr/>
        </p:nvSpPr>
        <p:spPr>
          <a:xfrm>
            <a:off x="6543967" y="2438399"/>
            <a:ext cx="2272146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痛点、痒点、兴奋点</a:t>
            </a:r>
            <a:endParaRPr lang="zh-CN" altLang="en-US" dirty="0"/>
          </a:p>
        </p:txBody>
      </p:sp>
      <p:sp>
        <p:nvSpPr>
          <p:cNvPr id="57" name="椭圆 56">
            <a:extLst>
              <a:ext uri="{FF2B5EF4-FFF2-40B4-BE49-F238E27FC236}">
                <a16:creationId xmlns:a16="http://schemas.microsoft.com/office/drawing/2014/main" id="{25E4038C-BD35-4C7C-9E01-843E50202C22}"/>
              </a:ext>
            </a:extLst>
          </p:cNvPr>
          <p:cNvSpPr/>
          <p:nvPr/>
        </p:nvSpPr>
        <p:spPr>
          <a:xfrm>
            <a:off x="6354622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AD5BD292-FFFE-468A-AD03-9D008BAEA883}"/>
              </a:ext>
            </a:extLst>
          </p:cNvPr>
          <p:cNvSpPr/>
          <p:nvPr/>
        </p:nvSpPr>
        <p:spPr>
          <a:xfrm>
            <a:off x="9365676" y="2438399"/>
            <a:ext cx="2272146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结合交付和客户调研反馈，功能优化建议</a:t>
            </a:r>
          </a:p>
        </p:txBody>
      </p:sp>
      <p:sp>
        <p:nvSpPr>
          <p:cNvPr id="59" name="椭圆 58">
            <a:extLst>
              <a:ext uri="{FF2B5EF4-FFF2-40B4-BE49-F238E27FC236}">
                <a16:creationId xmlns:a16="http://schemas.microsoft.com/office/drawing/2014/main" id="{521117E9-C2D2-49EF-BA64-3AA1FFE5AD16}"/>
              </a:ext>
            </a:extLst>
          </p:cNvPr>
          <p:cNvSpPr/>
          <p:nvPr/>
        </p:nvSpPr>
        <p:spPr>
          <a:xfrm>
            <a:off x="9176331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4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655685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5372C6F8-7C1E-4023-899A-2492EC0A81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产品演进与规划</a:t>
            </a:r>
          </a:p>
        </p:txBody>
      </p:sp>
    </p:spTree>
    <p:extLst>
      <p:ext uri="{BB962C8B-B14F-4D97-AF65-F5344CB8AC3E}">
        <p14:creationId xmlns:p14="http://schemas.microsoft.com/office/powerpoint/2010/main" val="3355477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69B9D65-A2E2-4967-9B4D-F470C580F2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zh-CN" altLang="en-US" dirty="0"/>
              <a:t>整体思路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5A4FA3CA-1F49-43C5-B5C4-1197C4D9682D}"/>
              </a:ext>
            </a:extLst>
          </p:cNvPr>
          <p:cNvSpPr/>
          <p:nvPr/>
        </p:nvSpPr>
        <p:spPr>
          <a:xfrm>
            <a:off x="900549" y="2438399"/>
            <a:ext cx="2632364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结合需求分析和竞争对手分析，设计竞争策略</a:t>
            </a: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21AB1C55-491A-4CDF-A879-2FFBA5C61B71}"/>
              </a:ext>
            </a:extLst>
          </p:cNvPr>
          <p:cNvSpPr/>
          <p:nvPr/>
        </p:nvSpPr>
        <p:spPr>
          <a:xfrm>
            <a:off x="711204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BA64AFD2-41F9-4444-990D-C672ACA08AB5}"/>
              </a:ext>
            </a:extLst>
          </p:cNvPr>
          <p:cNvSpPr/>
          <p:nvPr/>
        </p:nvSpPr>
        <p:spPr>
          <a:xfrm>
            <a:off x="4359567" y="2438399"/>
            <a:ext cx="2798616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设计</a:t>
            </a:r>
            <a:r>
              <a:rPr lang="zh-CN" altLang="en-US" dirty="0"/>
              <a:t>产品差异化</a:t>
            </a:r>
            <a:r>
              <a:rPr lang="zh-CN" altLang="en-US" dirty="0" smtClean="0"/>
              <a:t>能力</a:t>
            </a:r>
            <a:endParaRPr lang="en-US" altLang="zh-CN" dirty="0" smtClean="0"/>
          </a:p>
          <a:p>
            <a:pPr algn="ctr"/>
            <a:r>
              <a:rPr lang="zh-CN" altLang="en-US" sz="1400" dirty="0" smtClean="0"/>
              <a:t>验证客户反馈和</a:t>
            </a:r>
            <a:r>
              <a:rPr lang="en-US" altLang="zh-CN" sz="1400" dirty="0" smtClean="0"/>
              <a:t>MVP</a:t>
            </a:r>
            <a:endParaRPr lang="zh-CN" altLang="en-US" sz="1400" dirty="0"/>
          </a:p>
        </p:txBody>
      </p:sp>
      <p:sp>
        <p:nvSpPr>
          <p:cNvPr id="55" name="椭圆 54">
            <a:extLst>
              <a:ext uri="{FF2B5EF4-FFF2-40B4-BE49-F238E27FC236}">
                <a16:creationId xmlns:a16="http://schemas.microsoft.com/office/drawing/2014/main" id="{28D0E38E-0817-4CE6-850A-0A5097198712}"/>
              </a:ext>
            </a:extLst>
          </p:cNvPr>
          <p:cNvSpPr/>
          <p:nvPr/>
        </p:nvSpPr>
        <p:spPr>
          <a:xfrm>
            <a:off x="4170222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3C66D5B3-3A2D-4317-8D67-8456BD21316E}"/>
              </a:ext>
            </a:extLst>
          </p:cNvPr>
          <p:cNvSpPr/>
          <p:nvPr/>
        </p:nvSpPr>
        <p:spPr>
          <a:xfrm>
            <a:off x="8275785" y="2438399"/>
            <a:ext cx="2798616" cy="572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形成</a:t>
            </a:r>
            <a:r>
              <a:rPr lang="zh-CN" altLang="en-US" dirty="0" smtClean="0"/>
              <a:t>产品研发</a:t>
            </a:r>
            <a:endParaRPr lang="en-US" altLang="zh-CN" dirty="0" smtClean="0"/>
          </a:p>
          <a:p>
            <a:pPr algn="ctr"/>
            <a:r>
              <a:rPr lang="en-US" altLang="zh-CN" dirty="0" smtClean="0"/>
              <a:t>Roadmap</a:t>
            </a:r>
            <a:endParaRPr lang="zh-CN" altLang="en-US" dirty="0"/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D2DB7C4D-7482-4378-839E-E4381603FEA6}"/>
              </a:ext>
            </a:extLst>
          </p:cNvPr>
          <p:cNvSpPr/>
          <p:nvPr/>
        </p:nvSpPr>
        <p:spPr>
          <a:xfrm>
            <a:off x="8086440" y="2249054"/>
            <a:ext cx="378691" cy="378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3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173258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heme/theme1.xml><?xml version="1.0" encoding="utf-8"?>
<a:theme xmlns:a="http://schemas.openxmlformats.org/drawingml/2006/main" name="Neusoft PPT 16:9">
  <a:themeElements>
    <a:clrScheme name="公司主题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5BAC"/>
      </a:accent1>
      <a:accent2>
        <a:srgbClr val="06B4EA"/>
      </a:accent2>
      <a:accent3>
        <a:srgbClr val="17375E"/>
      </a:accent3>
      <a:accent4>
        <a:srgbClr val="408094"/>
      </a:accent4>
      <a:accent5>
        <a:srgbClr val="7F7F7F"/>
      </a:accent5>
      <a:accent6>
        <a:srgbClr val="EE7948"/>
      </a:accent6>
      <a:hlink>
        <a:srgbClr val="0563C1"/>
      </a:hlink>
      <a:folHlink>
        <a:srgbClr val="954F72"/>
      </a:folHlink>
    </a:clrScheme>
    <a:fontScheme name="公司模板">
      <a:majorFont>
        <a:latin typeface="Verdana"/>
        <a:ea typeface="微软雅黑"/>
        <a:cs typeface=""/>
      </a:majorFont>
      <a:minorFont>
        <a:latin typeface="Verdana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Neusoft PPT 16:9">
  <a:themeElements>
    <a:clrScheme name="公司主题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5BAC"/>
      </a:accent1>
      <a:accent2>
        <a:srgbClr val="06B4EA"/>
      </a:accent2>
      <a:accent3>
        <a:srgbClr val="17375E"/>
      </a:accent3>
      <a:accent4>
        <a:srgbClr val="408094"/>
      </a:accent4>
      <a:accent5>
        <a:srgbClr val="7F7F7F"/>
      </a:accent5>
      <a:accent6>
        <a:srgbClr val="EE7948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Neusoft PPT 16:9">
  <a:themeElements>
    <a:clrScheme name="公司主题模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5BAC"/>
      </a:accent1>
      <a:accent2>
        <a:srgbClr val="06B4EA"/>
      </a:accent2>
      <a:accent3>
        <a:srgbClr val="17375E"/>
      </a:accent3>
      <a:accent4>
        <a:srgbClr val="408094"/>
      </a:accent4>
      <a:accent5>
        <a:srgbClr val="7F7F7F"/>
      </a:accent5>
      <a:accent6>
        <a:srgbClr val="EE7948"/>
      </a:accent6>
      <a:hlink>
        <a:srgbClr val="0563C1"/>
      </a:hlink>
      <a:folHlink>
        <a:srgbClr val="954F72"/>
      </a:folHlink>
    </a:clrScheme>
    <a:fontScheme name="公司模板">
      <a:majorFont>
        <a:latin typeface="Verdana"/>
        <a:ea typeface="微软雅黑"/>
        <a:cs typeface=""/>
      </a:majorFont>
      <a:minorFont>
        <a:latin typeface="Verdana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569</TotalTime>
  <Words>153</Words>
  <Application>Microsoft Office PowerPoint</Application>
  <PresentationFormat>宽屏</PresentationFormat>
  <Paragraphs>52</Paragraphs>
  <Slides>1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5" baseType="lpstr">
      <vt:lpstr>方正兰亭粗黑_GBK</vt:lpstr>
      <vt:lpstr>华文中宋</vt:lpstr>
      <vt:lpstr>宋体</vt:lpstr>
      <vt:lpstr>微软雅黑</vt:lpstr>
      <vt:lpstr>Arial</vt:lpstr>
      <vt:lpstr>Calibri</vt:lpstr>
      <vt:lpstr>Times New Roman</vt:lpstr>
      <vt:lpstr>Verdana</vt:lpstr>
      <vt:lpstr>Wingdings</vt:lpstr>
      <vt:lpstr>Neusoft PPT 16:9</vt:lpstr>
      <vt:lpstr>1_Neusoft PPT 16:9</vt:lpstr>
      <vt:lpstr>2_Neusoft PPT 16:9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Zhenting Li</dc:creator>
  <cp:lastModifiedBy>kaomj</cp:lastModifiedBy>
  <cp:revision>3248</cp:revision>
  <cp:lastPrinted>2020-02-10T08:28:00Z</cp:lastPrinted>
  <dcterms:created xsi:type="dcterms:W3CDTF">2020-02-10T08:28:00Z</dcterms:created>
  <dcterms:modified xsi:type="dcterms:W3CDTF">2023-01-31T11:2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740</vt:lpwstr>
  </property>
</Properties>
</file>